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theme/theme2.xml" ContentType="application/vnd.openxmlformats-officedocument.theme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1" r:id="rId1"/>
    <p:sldMasterId id="2147487562" r:id="rId2"/>
    <p:sldMasterId id="2147483648" r:id="rId3"/>
  </p:sldMasterIdLst>
  <p:notesMasterIdLst>
    <p:notesMasterId r:id="rId15"/>
  </p:notesMasterIdLst>
  <p:sldIdLst>
    <p:sldId id="257" r:id="rId4"/>
    <p:sldId id="268" r:id="rId5"/>
    <p:sldId id="260" r:id="rId6"/>
    <p:sldId id="264" r:id="rId7"/>
    <p:sldId id="269" r:id="rId8"/>
    <p:sldId id="261" r:id="rId9"/>
    <p:sldId id="262" r:id="rId10"/>
    <p:sldId id="266" r:id="rId11"/>
    <p:sldId id="263" r:id="rId12"/>
    <p:sldId id="259" r:id="rId13"/>
    <p:sldId id="258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5FBE01E-7B92-B9C0-0995-5C3FE74E91A1}" name="Alana Rivera" initials="AR" userId="S::arg3669@ads.northwestern.edu::fc8b707a-b7e9-4f2a-8d71-2d76819b7881" providerId="AD"/>
  <p188:author id="{FCF8223C-610E-2BBA-F33B-0E1F55F6BB33}" name="Patricia Ann Lee King" initials="PK" userId="S::pal094@ads.northwestern.edu::dbab7ec2-5444-4d21-afe7-a39974533ddc" providerId="AD"/>
  <p188:author id="{0B48CC40-4357-5959-C41E-8F630855A478}" name="Aleena Lida Surenian" initials="AS" userId="S::als0813@ads.northwestern.edu::e2fd0e4e-6417-49b0-ab16-0ba26a1719f0" providerId="AD"/>
  <p188:author id="{41D23D66-CFE5-C8CE-E4D8-EDF3B3A562E8}" name="Patricia Ann Lee King" initials="" userId="pal094@ads.northwestern.edu" providerId="O365"/>
  <p188:author id="{96BC5498-5FB6-D77C-2E7E-6C255062AF2A}" name="Alana Rivera" initials="" userId="arg3669@ads.northwestern.edu" providerId="O365"/>
  <p188:author id="{866AA8C0-A40A-4549-B1BD-CB0F1B5845F6}" name="Ann Elizabeth Bryant Borders" initials="AB" userId="S::abr127@ads.northwestern.edu::965fb3da-aa86-42ca-92b3-900a66c4bd5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2E586EE-A9E5-C3B3-344D-B7166302DEA4}" v="46" dt="2023-11-01T03:28:04.277"/>
    <p1510:client id="{1661F03B-BD2D-0CD5-269F-285FCED7E240}" v="39" dt="2023-11-01T15:01:41.705"/>
    <p1510:client id="{95096156-3C3E-0AC4-8983-47F92E0A217B}" v="133" dt="2023-11-01T15:07:24.657"/>
    <p1510:client id="{BD545DE3-D58F-E244-E6F7-0DDFA075DA0E}" v="4" dt="2023-11-10T15:59:10.782"/>
    <p1510:client id="{F6DCDAE7-D045-0022-DFF3-B8E5E9D27E5A}" v="23" dt="2023-11-01T03:14:56.92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microsoft.com/office/2015/10/relationships/revisionInfo" Target="revisionInfo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ana Rivera" userId="S::arg3669@ads.northwestern.edu::fc8b707a-b7e9-4f2a-8d71-2d76819b7881" providerId="AD" clId="Web-{95096156-3C3E-0AC4-8983-47F92E0A217B}"/>
    <pc:docChg chg="modSld sldOrd">
      <pc:chgData name="Alana Rivera" userId="S::arg3669@ads.northwestern.edu::fc8b707a-b7e9-4f2a-8d71-2d76819b7881" providerId="AD" clId="Web-{95096156-3C3E-0AC4-8983-47F92E0A217B}" dt="2023-11-01T15:07:24.314" v="113"/>
      <pc:docMkLst>
        <pc:docMk/>
      </pc:docMkLst>
      <pc:sldChg chg="ord">
        <pc:chgData name="Alana Rivera" userId="S::arg3669@ads.northwestern.edu::fc8b707a-b7e9-4f2a-8d71-2d76819b7881" providerId="AD" clId="Web-{95096156-3C3E-0AC4-8983-47F92E0A217B}" dt="2023-11-01T15:07:24.314" v="113"/>
        <pc:sldMkLst>
          <pc:docMk/>
          <pc:sldMk cId="1497971200" sldId="258"/>
        </pc:sldMkLst>
      </pc:sldChg>
      <pc:sldChg chg="modSp">
        <pc:chgData name="Alana Rivera" userId="S::arg3669@ads.northwestern.edu::fc8b707a-b7e9-4f2a-8d71-2d76819b7881" providerId="AD" clId="Web-{95096156-3C3E-0AC4-8983-47F92E0A217B}" dt="2023-11-01T15:07:22.267" v="112" actId="20577"/>
        <pc:sldMkLst>
          <pc:docMk/>
          <pc:sldMk cId="2416694064" sldId="263"/>
        </pc:sldMkLst>
        <pc:spChg chg="mod">
          <ac:chgData name="Alana Rivera" userId="S::arg3669@ads.northwestern.edu::fc8b707a-b7e9-4f2a-8d71-2d76819b7881" providerId="AD" clId="Web-{95096156-3C3E-0AC4-8983-47F92E0A217B}" dt="2023-11-01T15:07:22.267" v="112" actId="20577"/>
          <ac:spMkLst>
            <pc:docMk/>
            <pc:sldMk cId="2416694064" sldId="263"/>
            <ac:spMk id="2" creationId="{B036A363-5758-048B-0681-8F5EF15634A8}"/>
          </ac:spMkLst>
        </pc:spChg>
      </pc:sldChg>
      <pc:sldChg chg="addSp modSp">
        <pc:chgData name="Alana Rivera" userId="S::arg3669@ads.northwestern.edu::fc8b707a-b7e9-4f2a-8d71-2d76819b7881" providerId="AD" clId="Web-{95096156-3C3E-0AC4-8983-47F92E0A217B}" dt="2023-11-01T14:50:03.827" v="35" actId="20577"/>
        <pc:sldMkLst>
          <pc:docMk/>
          <pc:sldMk cId="1605790159" sldId="264"/>
        </pc:sldMkLst>
        <pc:spChg chg="mod">
          <ac:chgData name="Alana Rivera" userId="S::arg3669@ads.northwestern.edu::fc8b707a-b7e9-4f2a-8d71-2d76819b7881" providerId="AD" clId="Web-{95096156-3C3E-0AC4-8983-47F92E0A217B}" dt="2023-11-01T14:46:13.913" v="10" actId="20577"/>
          <ac:spMkLst>
            <pc:docMk/>
            <pc:sldMk cId="1605790159" sldId="264"/>
            <ac:spMk id="2" creationId="{B4228DB4-66FD-54C8-5008-A4527AB91B20}"/>
          </ac:spMkLst>
        </pc:spChg>
        <pc:spChg chg="mod">
          <ac:chgData name="Alana Rivera" userId="S::arg3669@ads.northwestern.edu::fc8b707a-b7e9-4f2a-8d71-2d76819b7881" providerId="AD" clId="Web-{95096156-3C3E-0AC4-8983-47F92E0A217B}" dt="2023-11-01T14:50:03.827" v="35" actId="20577"/>
          <ac:spMkLst>
            <pc:docMk/>
            <pc:sldMk cId="1605790159" sldId="264"/>
            <ac:spMk id="3" creationId="{843ABBBF-289E-B468-BF20-F3C35E26A120}"/>
          </ac:spMkLst>
        </pc:spChg>
        <pc:spChg chg="add mod">
          <ac:chgData name="Alana Rivera" userId="S::arg3669@ads.northwestern.edu::fc8b707a-b7e9-4f2a-8d71-2d76819b7881" providerId="AD" clId="Web-{95096156-3C3E-0AC4-8983-47F92E0A217B}" dt="2023-11-01T14:49:31.935" v="26" actId="1076"/>
          <ac:spMkLst>
            <pc:docMk/>
            <pc:sldMk cId="1605790159" sldId="264"/>
            <ac:spMk id="7" creationId="{7E2D91D3-61CE-4785-5FD1-F846281A970D}"/>
          </ac:spMkLst>
        </pc:spChg>
        <pc:picChg chg="mod">
          <ac:chgData name="Alana Rivera" userId="S::arg3669@ads.northwestern.edu::fc8b707a-b7e9-4f2a-8d71-2d76819b7881" providerId="AD" clId="Web-{95096156-3C3E-0AC4-8983-47F92E0A217B}" dt="2023-11-01T14:49:39.983" v="28" actId="14100"/>
          <ac:picMkLst>
            <pc:docMk/>
            <pc:sldMk cId="1605790159" sldId="264"/>
            <ac:picMk id="6" creationId="{7879A382-9CE1-15F6-A122-71136F07889F}"/>
          </ac:picMkLst>
        </pc:picChg>
      </pc:sldChg>
      <pc:sldChg chg="delSp modSp mod modShow">
        <pc:chgData name="Alana Rivera" userId="S::arg3669@ads.northwestern.edu::fc8b707a-b7e9-4f2a-8d71-2d76819b7881" providerId="AD" clId="Web-{95096156-3C3E-0AC4-8983-47F92E0A217B}" dt="2023-11-01T14:57:00.356" v="107" actId="20577"/>
        <pc:sldMkLst>
          <pc:docMk/>
          <pc:sldMk cId="45033845" sldId="267"/>
        </pc:sldMkLst>
        <pc:spChg chg="mod">
          <ac:chgData name="Alana Rivera" userId="S::arg3669@ads.northwestern.edu::fc8b707a-b7e9-4f2a-8d71-2d76819b7881" providerId="AD" clId="Web-{95096156-3C3E-0AC4-8983-47F92E0A217B}" dt="2023-11-01T14:57:00.356" v="107" actId="20577"/>
          <ac:spMkLst>
            <pc:docMk/>
            <pc:sldMk cId="45033845" sldId="267"/>
            <ac:spMk id="2" creationId="{4454D9D2-FD51-4B03-BD7A-F1350B0E301B}"/>
          </ac:spMkLst>
        </pc:spChg>
        <pc:spChg chg="mod">
          <ac:chgData name="Alana Rivera" userId="S::arg3669@ads.northwestern.edu::fc8b707a-b7e9-4f2a-8d71-2d76819b7881" providerId="AD" clId="Web-{95096156-3C3E-0AC4-8983-47F92E0A217B}" dt="2023-11-01T14:56:29.183" v="105" actId="20577"/>
          <ac:spMkLst>
            <pc:docMk/>
            <pc:sldMk cId="45033845" sldId="267"/>
            <ac:spMk id="21" creationId="{46A9C70C-276E-351C-C598-87624FCAEA39}"/>
          </ac:spMkLst>
        </pc:spChg>
        <pc:spChg chg="del">
          <ac:chgData name="Alana Rivera" userId="S::arg3669@ads.northwestern.edu::fc8b707a-b7e9-4f2a-8d71-2d76819b7881" providerId="AD" clId="Web-{95096156-3C3E-0AC4-8983-47F92E0A217B}" dt="2023-11-01T14:53:53.897" v="40"/>
          <ac:spMkLst>
            <pc:docMk/>
            <pc:sldMk cId="45033845" sldId="267"/>
            <ac:spMk id="27" creationId="{DCCE0086-9586-8893-F949-99668854D549}"/>
          </ac:spMkLst>
        </pc:spChg>
      </pc:sldChg>
    </pc:docChg>
  </pc:docChgLst>
  <pc:docChgLst>
    <pc:chgData name="Aleena Lida Surenian" userId="S::als0813@ads.northwestern.edu::e2fd0e4e-6417-49b0-ab16-0ba26a1719f0" providerId="AD" clId="Web-{1661F03B-BD2D-0CD5-269F-285FCED7E240}"/>
    <pc:docChg chg="addSld delSld modSld modMainMaster">
      <pc:chgData name="Aleena Lida Surenian" userId="S::als0813@ads.northwestern.edu::e2fd0e4e-6417-49b0-ab16-0ba26a1719f0" providerId="AD" clId="Web-{1661F03B-BD2D-0CD5-269F-285FCED7E240}" dt="2023-11-01T15:01:41.705" v="36" actId="1076"/>
      <pc:docMkLst>
        <pc:docMk/>
      </pc:docMkLst>
      <pc:sldChg chg="del">
        <pc:chgData name="Aleena Lida Surenian" userId="S::als0813@ads.northwestern.edu::e2fd0e4e-6417-49b0-ab16-0ba26a1719f0" providerId="AD" clId="Web-{1661F03B-BD2D-0CD5-269F-285FCED7E240}" dt="2023-11-01T14:58:56.965" v="31"/>
        <pc:sldMkLst>
          <pc:docMk/>
          <pc:sldMk cId="45033845" sldId="267"/>
        </pc:sldMkLst>
      </pc:sldChg>
      <pc:sldChg chg="addSp modSp add">
        <pc:chgData name="Aleena Lida Surenian" userId="S::als0813@ads.northwestern.edu::e2fd0e4e-6417-49b0-ab16-0ba26a1719f0" providerId="AD" clId="Web-{1661F03B-BD2D-0CD5-269F-285FCED7E240}" dt="2023-11-01T15:01:41.705" v="36" actId="1076"/>
        <pc:sldMkLst>
          <pc:docMk/>
          <pc:sldMk cId="3791655336" sldId="269"/>
        </pc:sldMkLst>
        <pc:spChg chg="mod">
          <ac:chgData name="Aleena Lida Surenian" userId="S::als0813@ads.northwestern.edu::e2fd0e4e-6417-49b0-ab16-0ba26a1719f0" providerId="AD" clId="Web-{1661F03B-BD2D-0CD5-269F-285FCED7E240}" dt="2023-11-01T14:56:34.976" v="21" actId="20577"/>
          <ac:spMkLst>
            <pc:docMk/>
            <pc:sldMk cId="3791655336" sldId="269"/>
            <ac:spMk id="2" creationId="{4454D9D2-FD51-4B03-BD7A-F1350B0E301B}"/>
          </ac:spMkLst>
        </pc:spChg>
        <pc:spChg chg="add mod">
          <ac:chgData name="Aleena Lida Surenian" userId="S::als0813@ads.northwestern.edu::e2fd0e4e-6417-49b0-ab16-0ba26a1719f0" providerId="AD" clId="Web-{1661F03B-BD2D-0CD5-269F-285FCED7E240}" dt="2023-11-01T15:01:41.705" v="36" actId="1076"/>
          <ac:spMkLst>
            <pc:docMk/>
            <pc:sldMk cId="3791655336" sldId="269"/>
            <ac:spMk id="7" creationId="{713FDAB2-53D4-78F3-D399-3B8A3D2C8929}"/>
          </ac:spMkLst>
        </pc:spChg>
        <pc:spChg chg="mod">
          <ac:chgData name="Aleena Lida Surenian" userId="S::als0813@ads.northwestern.edu::e2fd0e4e-6417-49b0-ab16-0ba26a1719f0" providerId="AD" clId="Web-{1661F03B-BD2D-0CD5-269F-285FCED7E240}" dt="2023-11-01T14:59:05.887" v="34" actId="20577"/>
          <ac:spMkLst>
            <pc:docMk/>
            <pc:sldMk cId="3791655336" sldId="269"/>
            <ac:spMk id="21" creationId="{46A9C70C-276E-351C-C598-87624FCAEA39}"/>
          </ac:spMkLst>
        </pc:spChg>
        <pc:spChg chg="mod">
          <ac:chgData name="Aleena Lida Surenian" userId="S::als0813@ads.northwestern.edu::e2fd0e4e-6417-49b0-ab16-0ba26a1719f0" providerId="AD" clId="Web-{1661F03B-BD2D-0CD5-269F-285FCED7E240}" dt="2023-11-01T14:56:54.680" v="30" actId="1076"/>
          <ac:spMkLst>
            <pc:docMk/>
            <pc:sldMk cId="3791655336" sldId="269"/>
            <ac:spMk id="29" creationId="{2683819D-B268-71D9-14BF-797BB85380F7}"/>
          </ac:spMkLst>
        </pc:spChg>
        <pc:picChg chg="mod">
          <ac:chgData name="Aleena Lida Surenian" userId="S::als0813@ads.northwestern.edu::e2fd0e4e-6417-49b0-ab16-0ba26a1719f0" providerId="AD" clId="Web-{1661F03B-BD2D-0CD5-269F-285FCED7E240}" dt="2023-11-01T14:56:53.117" v="29" actId="1076"/>
          <ac:picMkLst>
            <pc:docMk/>
            <pc:sldMk cId="3791655336" sldId="269"/>
            <ac:picMk id="6" creationId="{5327B7A2-63A5-A0F3-5D24-30437DC4EC30}"/>
          </ac:picMkLst>
        </pc:picChg>
      </pc:sldChg>
      <pc:sldMasterChg chg="addSldLayout modSldLayout">
        <pc:chgData name="Aleena Lida Surenian" userId="S::als0813@ads.northwestern.edu::e2fd0e4e-6417-49b0-ab16-0ba26a1719f0" providerId="AD" clId="Web-{1661F03B-BD2D-0CD5-269F-285FCED7E240}" dt="2023-11-01T14:55:34.615" v="0"/>
        <pc:sldMasterMkLst>
          <pc:docMk/>
          <pc:sldMasterMk cId="3378073280" sldId="2147483701"/>
        </pc:sldMasterMkLst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982798914" sldId="2147483676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683270214" sldId="2147483681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225845292" sldId="2147483711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756388239" sldId="2147483712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468412230" sldId="2147483713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682089770" sldId="2147483716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657758517" sldId="2147483717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323406442" sldId="2147483718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577243743" sldId="2147483719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394216092" sldId="2147483721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480140117" sldId="2147483937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059781530" sldId="2147483938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980529727" sldId="2147483942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4021248361" sldId="2147483949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876612349" sldId="2147483954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361684694" sldId="2147483955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422325930" sldId="2147483956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572981547" sldId="2147483957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442479938" sldId="2147483958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066296709" sldId="2147483959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570922304" sldId="2147483960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155432313" sldId="2147483961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879056666" sldId="2147483962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01967696" sldId="2147483963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386446465" sldId="2147483964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910798543" sldId="2147483965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848675539" sldId="2147483966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122990995" sldId="2147483975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817355230" sldId="2147483979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51400287" sldId="2147483980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698946972" sldId="2147483981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751562560" sldId="2147483982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228489293" sldId="2147483987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75040569" sldId="2147483988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045177511" sldId="2147483994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126909929" sldId="2147483995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546532180" sldId="2147484354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083420" sldId="2147484570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036500789" sldId="2147484572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630801759" sldId="2147484766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980529727" sldId="2147484767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059781530" sldId="2147484768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377496322" sldId="2147484842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083420" sldId="2147484849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588949313" sldId="2147484850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036500789" sldId="2147484851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422401269" sldId="2147484852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625634235" sldId="2147485000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127289008" sldId="2147485001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4022153863" sldId="2147485002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635956606" sldId="2147485006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619806002" sldId="2147485007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565887101" sldId="2147485008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980529727" sldId="2147485393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422401269" sldId="2147485880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630801759" sldId="2147486200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709868767" sldId="2147486201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998157548" sldId="2147486202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980529727" sldId="2147486203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075216660" sldId="2147486205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476272431" sldId="2147486206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069300124" sldId="2147486207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480140117" sldId="2147486208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059781530" sldId="2147486209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09320368" sldId="2147486221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980529727" sldId="2147486279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705532739" sldId="2147486308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069300124" sldId="2147486336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709868767" sldId="2147486404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91337409" sldId="2147486405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075216660" sldId="2147486406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476272431" sldId="2147486407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998157548" sldId="2147486408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480140117" sldId="2147486409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993753234" sldId="2147486419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803572776" sldId="2147486420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72630080" sldId="2147486423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083420" sldId="2147486424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979200564" sldId="2147486426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069300124" sldId="2147486428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287509848" sldId="2147486926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195676063" sldId="2147486950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855494103" sldId="2147486957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339690513" sldId="2147486970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610496501" sldId="2147486972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410130633" sldId="2147486973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698059872" sldId="2147486974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939295337" sldId="2147486975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253572214" sldId="2147486976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402549073" sldId="2147486977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758542806" sldId="2147486978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979200564" sldId="2147486987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01596344" sldId="2147486989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291410609" sldId="2147487005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179854312" sldId="2147487029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28904194" sldId="2147487031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714228870" sldId="2147487040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5171903" sldId="2147487052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878186423" sldId="2147487087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844781546" sldId="2147487088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982901995" sldId="2147487089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208658575" sldId="2147487090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759532752" sldId="2147487092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647643842" sldId="2147487093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899434678" sldId="2147487116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468056590" sldId="2147487117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09320368" sldId="2147487145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410130633" sldId="2147487146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698059872" sldId="2147487147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630801759" sldId="2147487148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059781530" sldId="2147487149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709868767" sldId="2147487150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91337409" sldId="2147487151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075216660" sldId="2147487152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476272431" sldId="2147487153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069300124" sldId="2147487154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480140117" sldId="2147487155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855494103" sldId="2147487156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998157548" sldId="2147487157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630801759" sldId="2147487163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709868767" sldId="2147487164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998157548" sldId="2147487165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980529727" sldId="2147487166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91337409" sldId="2147487167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075216660" sldId="2147487168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476272431" sldId="2147487169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480140117" sldId="2147487170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059781530" sldId="2147487171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410130633" sldId="2147487172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698059872" sldId="2147487173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630801759" sldId="2147487227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709868767" sldId="2147487228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998157548" sldId="2147487229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91337409" sldId="2147487231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075216660" sldId="2147487232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476272431" sldId="2147487233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069300124" sldId="2147487234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980529727" sldId="2147487237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610496501" sldId="2147487242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791199215" sldId="2147487243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629515799" sldId="2147487244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448436128" sldId="2147487245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430479694" sldId="2147487246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5964228" sldId="2147487247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003719949" sldId="2147487248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590515151" sldId="2147487249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478274380" sldId="2147487250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707651266" sldId="2147487257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018896833" sldId="2147487258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09320368" sldId="2147487259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967421487" sldId="2147487260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983143663" sldId="2147487261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998157548" sldId="2147487262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965875377" sldId="2147487263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059781530" sldId="2147487264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480140117" sldId="2147487280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97111013" sldId="2147487299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000008366" sldId="2147487300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318321361" sldId="2147487301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559555195" sldId="2147487302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741522953" sldId="2147487303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496907520" sldId="2147487307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362774728" sldId="2147487308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627363329" sldId="2147487309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069300124" sldId="2147487310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459463894" sldId="2147487311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752727692" sldId="2147487312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386647170" sldId="2147487313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4226791542" sldId="2147487314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169632276" sldId="2147487315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543247745" sldId="2147487316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663663494" sldId="2147487317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797839732" sldId="2147487318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09320368" sldId="2147487319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610496501" sldId="2147487320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51008025" sldId="2147487332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393792943" sldId="2147487333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175092572" sldId="2147487334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488716721" sldId="2147487335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4145037749" sldId="2147487336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486002367" sldId="2147487337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939855488" sldId="2147487338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4121826003" sldId="2147487339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875499530" sldId="2147487340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01596344" sldId="2147487341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193561641" sldId="2147487342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088616943" sldId="2147487353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246938417" sldId="2147487354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986171260" sldId="2147487372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080090535" sldId="2147487373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27921214" sldId="2147487374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41920976" sldId="2147487375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635804420" sldId="2147487376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551432267" sldId="2147487381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480461207" sldId="2147487382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873984959" sldId="2147487383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729066305" sldId="2147487384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08668804" sldId="2147487636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801862111" sldId="2147487637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957949696" sldId="2147487638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691578072" sldId="2147487714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132318659" sldId="2147487715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083035621" sldId="2147487716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534488667" sldId="2147487717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984238912" sldId="2147487718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912020187" sldId="2147487719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171771967" sldId="2147487720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985636675" sldId="2147487721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794065546" sldId="2147487722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248015493" sldId="2147487723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572710091" sldId="2147487724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391810783" sldId="2147487725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462430371" sldId="2147487726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91337409" sldId="2147487727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069300124" sldId="2147487728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797839732" sldId="2147487733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630801759" sldId="2147487747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709868767" sldId="2147487748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91337409" sldId="2147487749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075216660" sldId="2147487750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476272431" sldId="2147487751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220637423" sldId="2147487752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30117215" sldId="2147487753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698059872" sldId="2147487754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781420108" sldId="2147487755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210091495" sldId="2147487756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91337409" sldId="2147487757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3981815734" sldId="2147487759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042047047" sldId="2147487760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468810016" sldId="2147487761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2147740735" sldId="2147487762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095849402" sldId="2147487763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662217939" sldId="2147487764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1298479306" sldId="2147487765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543003970" sldId="2147487766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4022153863" sldId="2147487767"/>
          </pc:sldLayoutMkLst>
        </pc:sldLayoutChg>
        <pc:sldLayoutChg chg="ad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888436358" sldId="2147487768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3378073280" sldId="2147483701"/>
            <pc:sldLayoutMk cId="4275016611" sldId="2147487769"/>
          </pc:sldLayoutMkLst>
        </pc:sldLayoutChg>
      </pc:sldMasterChg>
      <pc:sldMasterChg chg="modSldLayout">
        <pc:chgData name="Aleena Lida Surenian" userId="S::als0813@ads.northwestern.edu::e2fd0e4e-6417-49b0-ab16-0ba26a1719f0" providerId="AD" clId="Web-{1661F03B-BD2D-0CD5-269F-285FCED7E240}" dt="2023-11-01T14:55:34.615" v="0"/>
        <pc:sldMasterMkLst>
          <pc:docMk/>
          <pc:sldMasterMk cId="0" sldId="2147487562"/>
        </pc:sldMasterMkLst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0" sldId="2147487562"/>
            <pc:sldLayoutMk cId="0" sldId="2147487729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0" sldId="2147487562"/>
            <pc:sldLayoutMk cId="0" sldId="2147487730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0" sldId="2147487562"/>
            <pc:sldLayoutMk cId="0" sldId="2147487731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0" sldId="2147487562"/>
            <pc:sldLayoutMk cId="0" sldId="2147487732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0" sldId="2147487562"/>
            <pc:sldLayoutMk cId="0" sldId="2147487734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0" sldId="2147487562"/>
            <pc:sldLayoutMk cId="0" sldId="2147487735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0" sldId="2147487562"/>
            <pc:sldLayoutMk cId="0" sldId="2147487736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0" sldId="2147487562"/>
            <pc:sldLayoutMk cId="0" sldId="2147487737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0" sldId="2147487562"/>
            <pc:sldLayoutMk cId="0" sldId="2147487738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0" sldId="2147487562"/>
            <pc:sldLayoutMk cId="0" sldId="2147487739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0" sldId="2147487562"/>
            <pc:sldLayoutMk cId="0" sldId="2147487740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0" sldId="2147487562"/>
            <pc:sldLayoutMk cId="0" sldId="2147487741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0" sldId="2147487562"/>
            <pc:sldLayoutMk cId="0" sldId="2147487742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0" sldId="2147487562"/>
            <pc:sldLayoutMk cId="0" sldId="2147487743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0" sldId="2147487562"/>
            <pc:sldLayoutMk cId="0" sldId="2147487744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0" sldId="2147487562"/>
            <pc:sldLayoutMk cId="0" sldId="2147487745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0" sldId="2147487562"/>
            <pc:sldLayoutMk cId="0" sldId="2147487746"/>
          </pc:sldLayoutMkLst>
        </pc:sldLayoutChg>
        <pc:sldLayoutChg chg="replId">
          <pc:chgData name="Aleena Lida Surenian" userId="S::als0813@ads.northwestern.edu::e2fd0e4e-6417-49b0-ab16-0ba26a1719f0" providerId="AD" clId="Web-{1661F03B-BD2D-0CD5-269F-285FCED7E240}" dt="2023-11-01T14:55:34.615" v="0"/>
          <pc:sldLayoutMkLst>
            <pc:docMk/>
            <pc:sldMasterMk cId="0" sldId="2147487562"/>
            <pc:sldLayoutMk cId="0" sldId="2147487758"/>
          </pc:sldLayoutMkLst>
        </pc:sldLayoutChg>
      </pc:sldMasterChg>
    </pc:docChg>
  </pc:docChgLst>
  <pc:docChgLst>
    <pc:chgData name="Alana Rivera" userId="S::arg3669@ads.northwestern.edu::fc8b707a-b7e9-4f2a-8d71-2d76819b7881" providerId="AD" clId="Web-{02E586EE-A9E5-C3B3-344D-B7166302DEA4}"/>
    <pc:docChg chg="addSld modSld sldOrd">
      <pc:chgData name="Alana Rivera" userId="S::arg3669@ads.northwestern.edu::fc8b707a-b7e9-4f2a-8d71-2d76819b7881" providerId="AD" clId="Web-{02E586EE-A9E5-C3B3-344D-B7166302DEA4}" dt="2023-11-01T03:28:04.277" v="44" actId="14100"/>
      <pc:docMkLst>
        <pc:docMk/>
      </pc:docMkLst>
      <pc:sldChg chg="modSp ord">
        <pc:chgData name="Alana Rivera" userId="S::arg3669@ads.northwestern.edu::fc8b707a-b7e9-4f2a-8d71-2d76819b7881" providerId="AD" clId="Web-{02E586EE-A9E5-C3B3-344D-B7166302DEA4}" dt="2023-11-01T03:28:04.277" v="44" actId="14100"/>
        <pc:sldMkLst>
          <pc:docMk/>
          <pc:sldMk cId="3894269408" sldId="257"/>
        </pc:sldMkLst>
        <pc:spChg chg="mod">
          <ac:chgData name="Alana Rivera" userId="S::arg3669@ads.northwestern.edu::fc8b707a-b7e9-4f2a-8d71-2d76819b7881" providerId="AD" clId="Web-{02E586EE-A9E5-C3B3-344D-B7166302DEA4}" dt="2023-11-01T03:28:04.277" v="44" actId="14100"/>
          <ac:spMkLst>
            <pc:docMk/>
            <pc:sldMk cId="3894269408" sldId="257"/>
            <ac:spMk id="2" creationId="{599FCEC9-0EC9-374D-959D-7AB59467C1BA}"/>
          </ac:spMkLst>
        </pc:spChg>
        <pc:spChg chg="mod">
          <ac:chgData name="Alana Rivera" userId="S::arg3669@ads.northwestern.edu::fc8b707a-b7e9-4f2a-8d71-2d76819b7881" providerId="AD" clId="Web-{02E586EE-A9E5-C3B3-344D-B7166302DEA4}" dt="2023-11-01T03:27:56.120" v="42" actId="1076"/>
          <ac:spMkLst>
            <pc:docMk/>
            <pc:sldMk cId="3894269408" sldId="257"/>
            <ac:spMk id="3" creationId="{B3A6EC5C-75A9-6841-A232-CD6FE289C3AE}"/>
          </ac:spMkLst>
        </pc:spChg>
      </pc:sldChg>
      <pc:sldChg chg="delSp modSp add">
        <pc:chgData name="Alana Rivera" userId="S::arg3669@ads.northwestern.edu::fc8b707a-b7e9-4f2a-8d71-2d76819b7881" providerId="AD" clId="Web-{02E586EE-A9E5-C3B3-344D-B7166302DEA4}" dt="2023-11-01T03:27:42.745" v="40" actId="1076"/>
        <pc:sldMkLst>
          <pc:docMk/>
          <pc:sldMk cId="1951535700" sldId="268"/>
        </pc:sldMkLst>
        <pc:spChg chg="del mod">
          <ac:chgData name="Alana Rivera" userId="S::arg3669@ads.northwestern.edu::fc8b707a-b7e9-4f2a-8d71-2d76819b7881" providerId="AD" clId="Web-{02E586EE-A9E5-C3B3-344D-B7166302DEA4}" dt="2023-11-01T03:06:28.289" v="22"/>
          <ac:spMkLst>
            <pc:docMk/>
            <pc:sldMk cId="1951535700" sldId="268"/>
            <ac:spMk id="2" creationId="{00000000-0000-0000-0000-000000000000}"/>
          </ac:spMkLst>
        </pc:spChg>
        <pc:spChg chg="mod">
          <ac:chgData name="Alana Rivera" userId="S::arg3669@ads.northwestern.edu::fc8b707a-b7e9-4f2a-8d71-2d76819b7881" providerId="AD" clId="Web-{02E586EE-A9E5-C3B3-344D-B7166302DEA4}" dt="2023-11-01T03:27:42.745" v="40" actId="1076"/>
          <ac:spMkLst>
            <pc:docMk/>
            <pc:sldMk cId="1951535700" sldId="268"/>
            <ac:spMk id="3" creationId="{00000000-0000-0000-0000-000000000000}"/>
          </ac:spMkLst>
        </pc:spChg>
        <pc:spChg chg="mod">
          <ac:chgData name="Alana Rivera" userId="S::arg3669@ads.northwestern.edu::fc8b707a-b7e9-4f2a-8d71-2d76819b7881" providerId="AD" clId="Web-{02E586EE-A9E5-C3B3-344D-B7166302DEA4}" dt="2023-11-01T03:27:38.760" v="39" actId="1076"/>
          <ac:spMkLst>
            <pc:docMk/>
            <pc:sldMk cId="1951535700" sldId="268"/>
            <ac:spMk id="4" creationId="{2BC093EC-99F5-6790-044A-B93DFA51710F}"/>
          </ac:spMkLst>
        </pc:spChg>
        <pc:picChg chg="mod modCrop">
          <ac:chgData name="Alana Rivera" userId="S::arg3669@ads.northwestern.edu::fc8b707a-b7e9-4f2a-8d71-2d76819b7881" providerId="AD" clId="Web-{02E586EE-A9E5-C3B3-344D-B7166302DEA4}" dt="2023-11-01T03:25:55.569" v="36" actId="14100"/>
          <ac:picMkLst>
            <pc:docMk/>
            <pc:sldMk cId="1951535700" sldId="268"/>
            <ac:picMk id="5" creationId="{10E82D78-8CFE-B530-5A0F-92DC3AAD777E}"/>
          </ac:picMkLst>
        </pc:picChg>
      </pc:sldChg>
      <pc:sldMasterChg chg="addSldLayout">
        <pc:chgData name="Alana Rivera" userId="S::arg3669@ads.northwestern.edu::fc8b707a-b7e9-4f2a-8d71-2d76819b7881" providerId="AD" clId="Web-{02E586EE-A9E5-C3B3-344D-B7166302DEA4}" dt="2023-11-01T02:46:16.493" v="0"/>
        <pc:sldMasterMkLst>
          <pc:docMk/>
          <pc:sldMasterMk cId="3378073280" sldId="2147483701"/>
        </pc:sldMasterMkLst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1179854312" sldId="2147487646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228904194" sldId="2147487647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4041914057" sldId="2147487648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2982798914" sldId="2147487649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683270214" sldId="2147487650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3714228870" sldId="2147487651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2778744679" sldId="2147487652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15171903" sldId="2147487653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1603686679" sldId="2147487654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335213743" sldId="2147487655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241114809" sldId="2147487656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2751446120" sldId="2147487657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61954738" sldId="2147487658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914054778" sldId="2147487659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1556107529" sldId="2147487660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2404300062" sldId="2147487661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2083649414" sldId="2147487662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3773437552" sldId="2147487663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321024431" sldId="2147487664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138619597" sldId="2147487665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3503393694" sldId="2147487666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3392589500" sldId="2147487667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3119438968" sldId="2147487668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2423871782" sldId="2147487669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2665694493" sldId="2147487670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673350505" sldId="2147487671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509251650" sldId="2147487672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2820774020" sldId="2147487673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2806159376" sldId="2147487674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139001456" sldId="2147487675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2979200564" sldId="2147487676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980529727" sldId="2147487677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2979200564" sldId="2147487678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1036500789" sldId="2147487679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2422401269" sldId="2147487680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980529727" sldId="2147487681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980529727" sldId="2147487682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3082224325" sldId="2147487683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980529727" sldId="2147487684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3377496322" sldId="2147487685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980529727" sldId="2147487686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980529727" sldId="2147487687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2979200564" sldId="2147487688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2979200564" sldId="2147487689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980529727" sldId="2147487690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2979200564" sldId="2147487691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980529727" sldId="2147487692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2979200564" sldId="2147487693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3195676063" sldId="2147487694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72630080" sldId="2147487695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201596344" sldId="2147487696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3377496322" sldId="2147487697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72630080" sldId="2147487698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3195676063" sldId="2147487699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72630080" sldId="2147487700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3195676063" sldId="2147487701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980529727" sldId="2147487702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980529727" sldId="2147487703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588949313" sldId="2147487704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1546532180" sldId="2147487705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2757336188" sldId="2147487706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378520332" sldId="2147487707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411352467" sldId="2147487708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722305507" sldId="2147487709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1546532180" sldId="2147487710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1036500789" sldId="2147487711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2422401269" sldId="2147487712"/>
          </pc:sldLayoutMkLst>
        </pc:sldLayoutChg>
        <pc:sldLayoutChg chg="add">
          <pc:chgData name="Alana Rivera" userId="S::arg3669@ads.northwestern.edu::fc8b707a-b7e9-4f2a-8d71-2d76819b7881" providerId="AD" clId="Web-{02E586EE-A9E5-C3B3-344D-B7166302DEA4}" dt="2023-11-01T02:46:16.493" v="0"/>
          <pc:sldLayoutMkLst>
            <pc:docMk/>
            <pc:sldMasterMk cId="3378073280" sldId="2147483701"/>
            <pc:sldLayoutMk cId="980529727" sldId="2147487713"/>
          </pc:sldLayoutMkLst>
        </pc:sldLayoutChg>
      </pc:sldMasterChg>
    </pc:docChg>
  </pc:docChgLst>
  <pc:docChgLst>
    <pc:chgData name="Aleena Lida Surenian" userId="S::als0813@ads.northwestern.edu::e2fd0e4e-6417-49b0-ab16-0ba26a1719f0" providerId="AD" clId="Web-{BD545DE3-D58F-E244-E6F7-0DDFA075DA0E}"/>
    <pc:docChg chg="modSld">
      <pc:chgData name="Aleena Lida Surenian" userId="S::als0813@ads.northwestern.edu::e2fd0e4e-6417-49b0-ab16-0ba26a1719f0" providerId="AD" clId="Web-{BD545DE3-D58F-E244-E6F7-0DDFA075DA0E}" dt="2023-11-10T15:59:10.782" v="2"/>
      <pc:docMkLst>
        <pc:docMk/>
      </pc:docMkLst>
      <pc:sldChg chg="addSp delSp modSp">
        <pc:chgData name="Aleena Lida Surenian" userId="S::als0813@ads.northwestern.edu::e2fd0e4e-6417-49b0-ab16-0ba26a1719f0" providerId="AD" clId="Web-{BD545DE3-D58F-E244-E6F7-0DDFA075DA0E}" dt="2023-11-10T15:59:10.782" v="2"/>
        <pc:sldMkLst>
          <pc:docMk/>
          <pc:sldMk cId="1951535700" sldId="268"/>
        </pc:sldMkLst>
        <pc:spChg chg="mod">
          <ac:chgData name="Aleena Lida Surenian" userId="S::als0813@ads.northwestern.edu::e2fd0e4e-6417-49b0-ab16-0ba26a1719f0" providerId="AD" clId="Web-{BD545DE3-D58F-E244-E6F7-0DDFA075DA0E}" dt="2023-11-10T15:59:10.188" v="1" actId="20577"/>
          <ac:spMkLst>
            <pc:docMk/>
            <pc:sldMk cId="1951535700" sldId="268"/>
            <ac:spMk id="3" creationId="{00000000-0000-0000-0000-000000000000}"/>
          </ac:spMkLst>
        </pc:spChg>
        <pc:spChg chg="add mod">
          <ac:chgData name="Aleena Lida Surenian" userId="S::als0813@ads.northwestern.edu::e2fd0e4e-6417-49b0-ab16-0ba26a1719f0" providerId="AD" clId="Web-{BD545DE3-D58F-E244-E6F7-0DDFA075DA0E}" dt="2023-11-10T15:59:10.782" v="2"/>
          <ac:spMkLst>
            <pc:docMk/>
            <pc:sldMk cId="1951535700" sldId="268"/>
            <ac:spMk id="6" creationId="{88CA45EA-7F09-0D04-A1C2-07A188AB5E08}"/>
          </ac:spMkLst>
        </pc:spChg>
        <pc:picChg chg="del">
          <ac:chgData name="Aleena Lida Surenian" userId="S::als0813@ads.northwestern.edu::e2fd0e4e-6417-49b0-ab16-0ba26a1719f0" providerId="AD" clId="Web-{BD545DE3-D58F-E244-E6F7-0DDFA075DA0E}" dt="2023-11-10T15:59:10.782" v="2"/>
          <ac:picMkLst>
            <pc:docMk/>
            <pc:sldMk cId="1951535700" sldId="268"/>
            <ac:picMk id="5" creationId="{10E82D78-8CFE-B530-5A0F-92DC3AAD777E}"/>
          </ac:picMkLst>
        </pc:picChg>
      </pc:sldChg>
    </pc:docChg>
  </pc:docChgLst>
  <pc:docChgLst>
    <pc:chgData name="Alana Rivera" userId="S::arg3669@ads.northwestern.edu::fc8b707a-b7e9-4f2a-8d71-2d76819b7881" providerId="AD" clId="Web-{F6DCDAE7-D045-0022-DFF3-B8E5E9D27E5A}"/>
    <pc:docChg chg="modSld">
      <pc:chgData name="Alana Rivera" userId="S::arg3669@ads.northwestern.edu::fc8b707a-b7e9-4f2a-8d71-2d76819b7881" providerId="AD" clId="Web-{F6DCDAE7-D045-0022-DFF3-B8E5E9D27E5A}" dt="2023-11-01T03:14:56.920" v="21" actId="1076"/>
      <pc:docMkLst>
        <pc:docMk/>
      </pc:docMkLst>
      <pc:sldChg chg="addSp modSp delCm">
        <pc:chgData name="Alana Rivera" userId="S::arg3669@ads.northwestern.edu::fc8b707a-b7e9-4f2a-8d71-2d76819b7881" providerId="AD" clId="Web-{F6DCDAE7-D045-0022-DFF3-B8E5E9D27E5A}" dt="2023-11-01T03:14:56.920" v="21" actId="1076"/>
        <pc:sldMkLst>
          <pc:docMk/>
          <pc:sldMk cId="1951535700" sldId="268"/>
        </pc:sldMkLst>
        <pc:spChg chg="mod">
          <ac:chgData name="Alana Rivera" userId="S::arg3669@ads.northwestern.edu::fc8b707a-b7e9-4f2a-8d71-2d76819b7881" providerId="AD" clId="Web-{F6DCDAE7-D045-0022-DFF3-B8E5E9D27E5A}" dt="2023-11-01T03:14:51.201" v="19" actId="1076"/>
          <ac:spMkLst>
            <pc:docMk/>
            <pc:sldMk cId="1951535700" sldId="268"/>
            <ac:spMk id="3" creationId="{00000000-0000-0000-0000-000000000000}"/>
          </ac:spMkLst>
        </pc:spChg>
        <pc:spChg chg="add mod">
          <ac:chgData name="Alana Rivera" userId="S::arg3669@ads.northwestern.edu::fc8b707a-b7e9-4f2a-8d71-2d76819b7881" providerId="AD" clId="Web-{F6DCDAE7-D045-0022-DFF3-B8E5E9D27E5A}" dt="2023-11-01T03:14:56.920" v="21" actId="1076"/>
          <ac:spMkLst>
            <pc:docMk/>
            <pc:sldMk cId="1951535700" sldId="268"/>
            <ac:spMk id="4" creationId="{2BC093EC-99F5-6790-044A-B93DFA51710F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Alana Rivera" userId="S::arg3669@ads.northwestern.edu::fc8b707a-b7e9-4f2a-8d71-2d76819b7881" providerId="AD" clId="Web-{F6DCDAE7-D045-0022-DFF3-B8E5E9D27E5A}" dt="2023-11-01T03:13:53.387" v="2"/>
              <pc2:cmMkLst xmlns:pc2="http://schemas.microsoft.com/office/powerpoint/2019/9/main/command">
                <pc:docMk/>
                <pc:sldMk cId="1951535700" sldId="268"/>
                <pc2:cmMk id="{9581922E-EC29-435E-A5F2-192D6EEC5A6B}"/>
              </pc2:cmMkLst>
            </pc226:cmChg>
            <pc226:cmChg xmlns:pc226="http://schemas.microsoft.com/office/powerpoint/2022/06/main/command" chg="del">
              <pc226:chgData name="Alana Rivera" userId="S::arg3669@ads.northwestern.edu::fc8b707a-b7e9-4f2a-8d71-2d76819b7881" providerId="AD" clId="Web-{F6DCDAE7-D045-0022-DFF3-B8E5E9D27E5A}" dt="2023-11-01T03:13:52.590" v="1"/>
              <pc2:cmMkLst xmlns:pc2="http://schemas.microsoft.com/office/powerpoint/2019/9/main/command">
                <pc:docMk/>
                <pc:sldMk cId="1951535700" sldId="268"/>
                <pc2:cmMk id="{BE45CFB7-CE0C-44D4-B7AB-A59C5650813B}"/>
              </pc2:cmMkLst>
            </pc226:cmChg>
          </p:ext>
        </pc:ext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F9EB3D-1B15-423F-ADCD-BE8CDDE6CDD4}" type="datetimeFigureOut">
              <a:t>11/1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295D98-2F7A-45D5-A696-BF1E3F715796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5400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D2D14-F0AA-2844-871F-19DB90E803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00671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1C258-122C-4775-B207-3DE2D949F41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68493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1C258-122C-4775-B207-3DE2D949F414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06309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45" name="Google Shape;11345;p2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346" name="Google Shape;11346;p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50.emf"/><Relationship Id="rId5" Type="http://schemas.openxmlformats.org/officeDocument/2006/relationships/image" Target="../media/image49.emf"/><Relationship Id="rId4" Type="http://schemas.openxmlformats.org/officeDocument/2006/relationships/image" Target="../media/image48.emf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1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8.emf"/><Relationship Id="rId4" Type="http://schemas.openxmlformats.org/officeDocument/2006/relationships/oleObject" Target="../embeddings/oleObject2.bin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1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1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1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3.jpe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48.emf"/><Relationship Id="rId4" Type="http://schemas.openxmlformats.org/officeDocument/2006/relationships/oleObject" Target="../embeddings/oleObject4.bin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4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4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4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4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4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4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4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4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4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4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4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4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4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4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4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5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5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5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5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5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5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5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5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5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5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5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5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5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5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5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5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5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5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5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5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5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5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5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5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5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5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5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5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5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5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5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5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5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5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5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5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5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5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5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5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5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5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5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5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5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5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5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5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5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5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5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5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5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5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5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5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5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5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.xml"/></Relationships>
</file>

<file path=ppt/slideLayouts/_rels/slideLayout5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5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5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5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1.xml"/></Relationships>
</file>

<file path=ppt/slideLayouts/_rels/slideLayout5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1.xml"/></Relationships>
</file>

<file path=ppt/slideLayouts/_rels/slideLayout5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1.xml"/></Relationships>
</file>

<file path=ppt/slideLayouts/_rels/slideLayout5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5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5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5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5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5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5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5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5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5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5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5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5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5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6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50.emf"/><Relationship Id="rId5" Type="http://schemas.openxmlformats.org/officeDocument/2006/relationships/image" Target="../media/image49.emf"/><Relationship Id="rId4" Type="http://schemas.openxmlformats.org/officeDocument/2006/relationships/image" Target="../media/image48.emf"/></Relationships>
</file>

<file path=ppt/slideLayouts/_rels/slideLayout6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1.jpe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48.emf"/><Relationship Id="rId4" Type="http://schemas.openxmlformats.org/officeDocument/2006/relationships/oleObject" Target="../embeddings/oleObject7.bin"/></Relationships>
</file>

<file path=ppt/slideLayouts/_rels/slideLayout6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6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1.xml"/></Relationships>
</file>

<file path=ppt/slideLayouts/_rels/slideLayout6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1.xml"/></Relationships>
</file>

<file path=ppt/slideLayouts/_rels/slideLayout6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1.xml"/></Relationships>
</file>

<file path=ppt/slideLayouts/_rels/slideLayout6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6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1.xml"/></Relationships>
</file>

<file path=ppt/slideLayouts/_rels/slideLayout6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1.xml"/></Relationships>
</file>

<file path=ppt/slideLayouts/_rels/slideLayout6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1.xml"/></Relationships>
</file>

<file path=ppt/slideLayouts/_rels/slideLayout6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1.xml"/></Relationships>
</file>

<file path=ppt/slideLayouts/_rels/slideLayout6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1.xml"/></Relationships>
</file>

<file path=ppt/slideLayouts/_rels/slideLayout6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1.xml"/></Relationships>
</file>

<file path=ppt/slideLayouts/_rels/slideLayout6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1.xml"/></Relationships>
</file>

<file path=ppt/slideLayouts/_rels/slideLayout6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50.emf"/><Relationship Id="rId5" Type="http://schemas.openxmlformats.org/officeDocument/2006/relationships/image" Target="../media/image49.emf"/><Relationship Id="rId4" Type="http://schemas.openxmlformats.org/officeDocument/2006/relationships/image" Target="../media/image48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6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3.jpe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48.emf"/><Relationship Id="rId4" Type="http://schemas.openxmlformats.org/officeDocument/2006/relationships/oleObject" Target="../embeddings/oleObject10.bin"/></Relationships>
</file>

<file path=ppt/slideLayouts/_rels/slideLayout6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6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1.xml"/></Relationships>
</file>

<file path=ppt/slideLayouts/_rels/slideLayout6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1.xml"/></Relationships>
</file>

<file path=ppt/slideLayouts/_rels/slideLayout6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1.xml"/></Relationships>
</file>

<file path=ppt/slideLayouts/_rels/slideLayout6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3.jpe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48.emf"/><Relationship Id="rId4" Type="http://schemas.openxmlformats.org/officeDocument/2006/relationships/oleObject" Target="../embeddings/oleObject12.bin"/></Relationships>
</file>

<file path=ppt/slideLayouts/_rels/slideLayout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6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6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1.xml"/></Relationships>
</file>

<file path=ppt/slideLayouts/_rels/slideLayout6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1.xml"/></Relationships>
</file>

<file path=ppt/slideLayouts/_rels/slideLayout6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1.xml"/></Relationships>
</file>

<file path=ppt/slideLayouts/_rels/slideLayout6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6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6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6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6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6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6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6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6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6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6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6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6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6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6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6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Master" Target="../slideMasters/slideMaster1.xml"/></Relationships>
</file>

<file path=ppt/slideLayouts/_rels/slideLayout6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.xml"/></Relationships>
</file>

<file path=ppt/slideLayouts/_rels/slideLayout6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.xml"/></Relationships>
</file>

<file path=ppt/slideLayouts/_rels/slideLayout6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Master" Target="../slideMasters/slideMaster1.xml"/></Relationships>
</file>

<file path=ppt/slideLayouts/_rels/slideLayout6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Master" Target="../slideMasters/slideMaster1.xml"/></Relationships>
</file>

<file path=ppt/slideLayouts/_rels/slideLayout6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81.png"/><Relationship Id="rId1" Type="http://schemas.openxmlformats.org/officeDocument/2006/relationships/slideMaster" Target="../slideMasters/slideMaster1.xml"/></Relationships>
</file>

<file path=ppt/slideLayouts/_rels/slideLayout6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82.png"/><Relationship Id="rId1" Type="http://schemas.openxmlformats.org/officeDocument/2006/relationships/slideMaster" Target="../slideMasters/slideMaster1.xml"/></Relationships>
</file>

<file path=ppt/slideLayouts/_rels/slideLayout6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83.png"/><Relationship Id="rId1" Type="http://schemas.openxmlformats.org/officeDocument/2006/relationships/slideMaster" Target="../slideMasters/slideMaster1.xml"/></Relationships>
</file>

<file path=ppt/slideLayouts/_rels/slideLayout6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1.xml"/></Relationships>
</file>

<file path=ppt/slideLayouts/_rels/slideLayout6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Master" Target="../slideMasters/slideMaster1.xml"/></Relationships>
</file>

<file path=ppt/slideLayouts/_rels/slideLayout6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6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1.xml"/></Relationships>
</file>

<file path=ppt/slideLayouts/_rels/slideLayout6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Master" Target="../slideMasters/slideMaster1.xml"/></Relationships>
</file>

<file path=ppt/slideLayouts/_rels/slideLayout6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1.xml"/></Relationships>
</file>

<file path=ppt/slideLayouts/_rels/slideLayout6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1.xml"/></Relationships>
</file>

<file path=ppt/slideLayouts/_rels/slideLayout6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50.emf"/><Relationship Id="rId5" Type="http://schemas.openxmlformats.org/officeDocument/2006/relationships/image" Target="../media/image49.emf"/><Relationship Id="rId4" Type="http://schemas.openxmlformats.org/officeDocument/2006/relationships/image" Target="../media/image48.emf"/></Relationships>
</file>

<file path=ppt/slideLayouts/_rels/slideLayout6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3.jpe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48.emf"/><Relationship Id="rId4" Type="http://schemas.openxmlformats.org/officeDocument/2006/relationships/oleObject" Target="../embeddings/oleObject15.bin"/></Relationships>
</file>

<file path=ppt/slideLayouts/_rels/slideLayout6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6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6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6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6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6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7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7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7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7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7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7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7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7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7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7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7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7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7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7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7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7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7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7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7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7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7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7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7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7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7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7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7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7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7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7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7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7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7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7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7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7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7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7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7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7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7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7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7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7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7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7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7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7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8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8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8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8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8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8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8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8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8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8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8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8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8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8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8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8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8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8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8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8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8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8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8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8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8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8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8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8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8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8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8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Master" Target="../slideMasters/slideMaster2.xml"/></Relationships>
</file>

<file path=ppt/slideLayouts/_rels/slideLayout8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Master" Target="../slideMasters/slideMaster2.xml"/></Relationships>
</file>

<file path=ppt/slideLayouts/_rels/slideLayout8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Master" Target="../slideMasters/slideMaster2.xml"/></Relationships>
</file>

<file path=ppt/slideLayouts/_rels/slideLayout8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8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8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8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8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8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8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8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8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8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8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8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8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8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8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8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8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8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8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8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8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8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8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8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8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8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8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8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8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8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8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8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8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8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8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8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9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9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2.xml"/></Relationships>
</file>

<file path=ppt/slideLayouts/_rels/slideLayout9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9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9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2.xml"/></Relationships>
</file>

<file path=ppt/slideLayouts/_rels/slideLayout9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2.xml"/></Relationships>
</file>

<file path=ppt/slideLayouts/_rels/slideLayout9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9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2.xml"/></Relationships>
</file>

<file path=ppt/slideLayouts/_rels/slideLayout9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2.xml"/></Relationships>
</file>

<file path=ppt/slideLayouts/_rels/slideLayout9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.xml"/></Relationships>
</file>

<file path=ppt/slideLayouts/_rels/slideLayout9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9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9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9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3.png"/><Relationship Id="rId1" Type="http://schemas.openxmlformats.org/officeDocument/2006/relationships/slideMaster" Target="../slideMasters/slideMaster2.xml"/></Relationships>
</file>

<file path=ppt/slideLayouts/_rels/slideLayout9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Master" Target="../slideMasters/slideMaster2.xml"/></Relationships>
</file>

<file path=ppt/slideLayouts/_rels/slideLayout9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2.xml"/></Relationships>
</file>

<file path=ppt/slideLayouts/_rels/slideLayout9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2.xml"/></Relationships>
</file>

<file path=ppt/slideLayouts/_rels/slideLayout9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.xml"/></Relationships>
</file>

<file path=ppt/slideLayouts/_rels/slideLayout9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2.xml"/></Relationships>
</file>

<file path=ppt/slideLayouts/_rels/slideLayout9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2.xml"/></Relationships>
</file>

<file path=ppt/slideLayouts/_rels/slideLayout9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9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Master" Target="../slideMasters/slideMaster2.xml"/></Relationships>
</file>

<file path=ppt/slideLayouts/_rels/slideLayout9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Master" Target="../slideMasters/slideMaster2.xml"/></Relationships>
</file>

<file path=ppt/slideLayouts/_rels/slideLayout9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Master" Target="../slideMasters/slideMaster2.xml"/></Relationships>
</file>

<file path=ppt/slideLayouts/_rels/slideLayout9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2.xml"/></Relationships>
</file>

<file path=ppt/slideLayouts/_rels/slideLayout9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9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9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9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2.xml"/></Relationships>
</file>

<file path=ppt/slideLayouts/_rels/slideLayout9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9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2.xml"/></Relationships>
</file>

<file path=ppt/slideLayouts/_rels/slideLayout9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9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2.xml"/></Relationships>
</file>

<file path=ppt/slideLayouts/_rels/slideLayout9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2.xml"/></Relationships>
</file>

<file path=ppt/slideLayouts/_rels/slideLayout9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2.xml"/></Relationships>
</file>

<file path=ppt/slideLayouts/_rels/slideLayout9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2.xml"/></Relationships>
</file>

<file path=ppt/slideLayouts/_rels/slideLayout9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2.xml"/></Relationships>
</file>

<file path=ppt/slideLayouts/_rels/slideLayout9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9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2.xml"/></Relationships>
</file>

<file path=ppt/slideLayouts/_rels/slideLayout9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2.xml"/></Relationships>
</file>

<file path=ppt/slideLayouts/_rels/slideLayout9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2.xml"/></Relationships>
</file>

<file path=ppt/slideLayouts/_rels/slideLayout9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2.xml"/></Relationships>
</file>

<file path=ppt/slideLayouts/_rels/slideLayout9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2.xml"/></Relationships>
</file>

<file path=ppt/slideLayouts/_rels/slideLayout9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2.xml"/></Relationships>
</file>

<file path=ppt/slideLayouts/_rels/slideLayout9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2.xml"/></Relationships>
</file>

<file path=ppt/slideLayouts/_rels/slideLayout9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2.xml"/></Relationships>
</file>

<file path=ppt/slideLayouts/_rels/slideLayout9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9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15780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5431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47930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59260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8563667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9406554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7501661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9242777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5473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7271009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6243037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880367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231865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34211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05477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05277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4786297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7687718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88990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10752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0469885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6120183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755381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0419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84537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90163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1184010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30006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648636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070544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77965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8773903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802035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22088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303562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2907002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64918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4862656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653802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2484767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64941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93612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43755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5832855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293865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3448866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6573187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4318294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85414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1998685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7818642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4478154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8290199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65857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1101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0083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238912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32136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5955519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4152295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866880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86211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5794969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690752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77472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2736332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5327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202018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5946389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272769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8664717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679154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63227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4324774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4764384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66349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9783973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978397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195552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43467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056590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24431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0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285631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1959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329078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69414299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322304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39369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5895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3245373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53485271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95870651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28825244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99238068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86218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6385201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438968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871782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694493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3505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874233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9849130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11595628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972729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251650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1926387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86669273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0922533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5841725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59617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163151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15780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914057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008025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93792943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092572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716721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45037749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86002367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39855488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2182600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549953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14106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84230286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56164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5267698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7529749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663217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774020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34594192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56315279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01317895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00288109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3761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798914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92886451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15937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616943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938417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550571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877040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574274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471929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5827859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4044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9" y="5400326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2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3348" y="136526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771967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78424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098044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945276364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021461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989584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864542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282302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04982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795372134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8280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1199215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648628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122543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62054694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55294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21214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41920976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804420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171260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090535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212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29515799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41920976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804420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85276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666298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656760714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649411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432267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461207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873984959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0663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436128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428475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99805404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702167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713067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73097338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179664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493336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74977627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355322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0145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270214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61880748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19786099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9168792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58112831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3635138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72360139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9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3" y="1806430"/>
            <a:ext cx="10189827" cy="2278211"/>
          </a:xfrm>
        </p:spPr>
        <p:txBody>
          <a:bodyPr anchor="b"/>
          <a:lstStyle>
            <a:lvl1pPr marL="0" indent="0">
              <a:defRPr sz="5334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4868132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0792940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0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9783795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228870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48015493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5431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964228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20637423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03719949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20637423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90515151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11/10/2023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2834799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810783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11/10/2023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9018680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3001559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8274380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798914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2254879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9" y="5400326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2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6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771967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1199215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29515799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436128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23186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22990995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0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270214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4325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228870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3572214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549073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39295337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8542806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67421487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83143663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532739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690513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0357277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48015493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964228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03719949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90515151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810783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8274380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8841809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0419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68296633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854968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6344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0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744679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6344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6344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6376476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43775063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34956318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658486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88786427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415549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521326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1903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303562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1903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0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324019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680660955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64467406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0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5677796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353" t="41308" r="41308" b="44537"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1248361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683148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9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3" y="1806430"/>
            <a:ext cx="10189827" cy="2278211"/>
          </a:xfrm>
        </p:spPr>
        <p:txBody>
          <a:bodyPr anchor="b"/>
          <a:lstStyle>
            <a:lvl1pPr marL="0" indent="0">
              <a:defRPr sz="5334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661234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686679"/>
      </p:ext>
    </p:extLst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1684694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22325930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72981547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479938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66296709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922304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55432313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79056666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1967696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8644646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65481949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0798543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48675539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011711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336372206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031328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0270537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2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11/10/2023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14610509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23" indent="0">
              <a:buNone/>
              <a:defRPr sz="1200"/>
            </a:lvl2pPr>
            <a:lvl3pPr marL="914446" indent="0">
              <a:buNone/>
              <a:defRPr sz="1000"/>
            </a:lvl3pPr>
            <a:lvl4pPr marL="1371669" indent="0">
              <a:buNone/>
              <a:defRPr sz="900"/>
            </a:lvl4pPr>
            <a:lvl5pPr marL="1828891" indent="0">
              <a:buNone/>
              <a:defRPr sz="900"/>
            </a:lvl5pPr>
            <a:lvl6pPr marL="2286114" indent="0">
              <a:buNone/>
              <a:defRPr sz="900"/>
            </a:lvl6pPr>
            <a:lvl7pPr marL="2743337" indent="0">
              <a:buNone/>
              <a:defRPr sz="900"/>
            </a:lvl7pPr>
            <a:lvl8pPr marL="3200560" indent="0">
              <a:buNone/>
              <a:defRPr sz="900"/>
            </a:lvl8pPr>
            <a:lvl9pPr marL="365778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11/10/2023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50515904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53644344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6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865337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4801019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24834593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43003970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43003970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355230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00287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698946972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1562560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26479413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89622913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33618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07914573"/>
      </p:ext>
    </p:extLst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20332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489293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40569"/>
      </p:ext>
    </p:extLst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1105823"/>
      </p:ext>
    </p:extLst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5772397"/>
      </p:ext>
    </p:extLst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901327"/>
      </p:ext>
    </p:extLst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52467"/>
      </p:ext>
    </p:extLst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305507"/>
      </p:ext>
    </p:extLst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5177511"/>
      </p:ext>
    </p:extLst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90992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775852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38498237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36365882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08656322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30473943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550117"/>
      </p:ext>
    </p:extLst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5824695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47288010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353" t="41308" r="41308" b="44537"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353" t="41308" r="41308" b="44537"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25519462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4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16;p4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4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" name="Google Shape;18;p4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9" name="Google Shape;19;p4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0" name="Google Shape;20;p4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21;p4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2" name="Google Shape;22;p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" name="Google Shape;25;p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" name="Google Shape;26;p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" name="Google Shape;27;p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" name="Google Shape;28;p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" name="Google Shape;29;p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0" name="Google Shape;30;p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" name="Google Shape;31;p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oogle Shape;33;p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Google Shape;34;p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" name="Google Shape;35;p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Google Shape;36;p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" name="Google Shape;37;p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8" name="Google Shape;38;p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4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" name="Google Shape;41;p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" name="Google Shape;42;p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oogle Shape;44;p5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5" name="Google Shape;45;p5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46;p5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47;p5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8" name="Google Shape;48;p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9" name="Google Shape;49;p5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5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98032396"/>
      </p:ext>
    </p:extLst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oogle Shape;52;p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" name="Google Shape;53;p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" name="Google Shape;54;p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" name="Google Shape;55;p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" name="Google Shape;56;p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7" name="Google Shape;57;p5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" name="Google Shape;58;p5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" name="Google Shape;59;p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" name="Google Shape;60;p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" name="Google Shape;61;p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">
    <p:bg>
      <p:bgPr>
        <a:solidFill>
          <a:schemeClr val="lt2"/>
        </a:solidFill>
        <a:effectLst/>
      </p:bgPr>
    </p:bg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5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4" name="Google Shape;64;p5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65;p5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66;p5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7" name="Google Shape;67;p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8" name="Google Shape;68;p5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" name="Google Shape;69;p5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2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oogle Shape;71;p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" name="Google Shape;72;p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" name="Google Shape;73;p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" name="Google Shape;74;p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" name="Google Shape;76;p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5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" name="Google Shape;79;p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" name="Google Shape;80;p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3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oogle Shape;82;p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" name="Google Shape;83;p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4" name="Google Shape;84;p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5" name="Google Shape;85;p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" name="Google Shape;86;p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7" name="Google Shape;87;p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" name="Google Shape;88;p5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" name="Google Shape;90;p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" name="Google Shape;91;p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">
    <p:bg>
      <p:bgPr>
        <a:solidFill>
          <a:schemeClr val="lt2"/>
        </a:solidFill>
        <a:effectLst/>
      </p:bgPr>
    </p:bg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" name="Google Shape;93;p6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4" name="Google Shape;94;p6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" name="Google Shape;95;p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" name="Google Shape;96;p6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7" name="Google Shape;97;p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8" name="Google Shape;98;p6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" name="Google Shape;99;p6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4"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" name="Google Shape;101;p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" name="Google Shape;102;p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" name="Google Shape;103;p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" name="Google Shape;104;p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105;p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6" name="Google Shape;106;p6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6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" name="Google Shape;108;p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" name="Google Shape;109;p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" name="Google Shape;110;p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"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" name="Google Shape;112;p6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3" name="Google Shape;113;p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" name="Google Shape;114;p6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" name="Google Shape;115;p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116;p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7" name="Google Shape;117;p6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" name="Google Shape;118;p6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0" name="Google Shape;120;p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1" name="Google Shape;121;p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6"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3" name="Google Shape;123;p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4" name="Google Shape;124;p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5" name="Google Shape;125;p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6" name="Google Shape;126;p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127;p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8" name="Google Shape;128;p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" name="Google Shape;129;p6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" name="Google Shape;130;p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1" name="Google Shape;131;p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2" name="Google Shape;132;p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6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" name="Google Shape;135;p6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" name="Google Shape;136;p6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37" name="Google Shape;137;p6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38" name="Google Shape;138;p6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39" name="Google Shape;139;p6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140;p6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1" name="Google Shape;141;p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4">
    <p:bg>
      <p:bgPr>
        <a:solidFill>
          <a:schemeClr val="lt2"/>
        </a:solidFill>
        <a:effectLst/>
      </p:bgPr>
    </p:bg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" name="Google Shape;143;p6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4" name="Google Shape;144;p6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145;p6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146;p6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7" name="Google Shape;147;p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8" name="Google Shape;148;p6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" name="Google Shape;149;p6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3448866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4125666"/>
      </p:ext>
    </p:extLst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Google Shape;151;p7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2" name="Google Shape;152;p7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3" name="Google Shape;153;p7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4" name="Google Shape;154;p7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155;p7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6" name="Google Shape;156;p7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7" name="Google Shape;157;p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Google Shape;159;p7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0" name="Google Shape;160;p7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1" name="Google Shape;161;p7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" name="Google Shape;162;p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3" name="Google Shape;163;p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4" name="Google Shape;164;p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5" name="Google Shape;165;p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6" name="Google Shape;166;p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7" name="Google Shape;167;p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8" name="Google Shape;168;p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169;p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0" name="Google Shape;170;p7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p7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3" name="Google Shape;173;p7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74" name="Google Shape;174;p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5" name="Google Shape;175;p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6" name="Google Shape;176;p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7" name="Google Shape;177;p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" name="Google Shape;178;p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9" name="Google Shape;179;p7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7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1" name="Google Shape;181;p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2" name="Google Shape;182;p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4" name="Google Shape;184;p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5" name="Google Shape;185;p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6" name="Google Shape;186;p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7" name="Google Shape;187;p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" name="Google Shape;188;p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9" name="Google Shape;189;p7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" name="Google Shape;190;p7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1" name="Google Shape;191;p7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" name="Google Shape;192;p7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3" name="Google Shape;193;p7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4" name="Google Shape;194;p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5" name="Google Shape;195;p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6" name="Google Shape;196;p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8" name="Google Shape;198;p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9" name="Google Shape;199;p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0" name="Google Shape;200;p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01" name="Google Shape;201;p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2" name="Google Shape;202;p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3" name="Google Shape;203;p7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4" name="Google Shape;204;p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05" name="Google Shape;205;p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6" name="Google Shape;206;p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8" name="Google Shape;208;p7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09" name="Google Shape;209;p7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" name="Google Shape;210;p7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1" name="Google Shape;211;p7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2" name="Google Shape;212;p7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3" name="Google Shape;213;p7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14" name="Google Shape;214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15" name="Google Shape;215;p7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p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8" name="Google Shape;218;p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9" name="Google Shape;219;p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20" name="Google Shape;220;p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1" name="Google Shape;221;p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2" name="Google Shape;222;p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3" name="Google Shape;223;p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3"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p7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7" name="Google Shape;227;p7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8" name="Google Shape;228;p7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29" name="Google Shape;229;p7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30" name="Google Shape;230;p7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31" name="Google Shape;231;p7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2" name="Google Shape;232;p7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33" name="Google Shape;233;p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">
    <p:spTree>
      <p:nvGrpSpPr>
        <p:cNvPr id="1" name="Shape 2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" name="Google Shape;235;p7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36" name="Google Shape;236;p7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37" name="Google Shape;237;p7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38" name="Google Shape;238;p7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9" name="Google Shape;239;p7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40" name="Google Shape;240;p7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41" name="Google Shape;241;p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">
    <p:spTree>
      <p:nvGrpSpPr>
        <p:cNvPr id="1" name="Shape 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Google Shape;243;p7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4" name="Google Shape;244;p7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5" name="Google Shape;245;p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6" name="Google Shape;246;p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7" name="Google Shape;247;p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8" name="Google Shape;248;p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49" name="Google Shape;249;p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0" name="Google Shape;250;p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1" name="Google Shape;251;p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2" name="Google Shape;252;p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3" name="Google Shape;253;p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4" name="Google Shape;254;p7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25845292"/>
      </p:ext>
    </p:extLst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7"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6" name="Google Shape;256;p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7" name="Google Shape;257;p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8" name="Google Shape;258;p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9" name="Google Shape;259;p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0" name="Google Shape;260;p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1" name="Google Shape;261;p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2" name="Google Shape;262;p8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3" name="Google Shape;263;p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4" name="Google Shape;264;p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5" name="Google Shape;265;p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2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" name="Google Shape;267;p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8" name="Google Shape;268;p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69" name="Google Shape;269;p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0" name="Google Shape;270;p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1" name="Google Shape;271;p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2" name="Google Shape;272;p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3" name="Google Shape;273;p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74" name="Google Shape;274;p8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5" name="Google Shape;275;p8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6" name="Google Shape;276;p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7" name="Google Shape;277;p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9" name="Google Shape;279;p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0" name="Google Shape;280;p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1" name="Google Shape;281;p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2" name="Google Shape;282;p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3" name="Google Shape;283;p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84" name="Google Shape;284;p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5" name="Google Shape;285;p8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86" name="Google Shape;286;p8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7" name="Google Shape;287;p8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88" name="Google Shape;288;p8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9" name="Google Shape;289;p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0" name="Google Shape;290;p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1" name="Google Shape;291;p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3" name="Google Shape;293;p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4" name="Google Shape;294;p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5" name="Google Shape;295;p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6" name="Google Shape;296;p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297;p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98" name="Google Shape;298;p8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9" name="Google Shape;299;p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0" name="Google Shape;300;p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1" name="Google Shape;301;p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"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3" name="Google Shape;303;p8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04" name="Google Shape;304;p8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5" name="Google Shape;305;p8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6" name="Google Shape;306;p8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7" name="Google Shape;307;p8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8" name="Google Shape;308;p8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09" name="Google Shape;309;p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10" name="Google Shape;310;p8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">
    <p:spTree>
      <p:nvGrpSpPr>
        <p:cNvPr id="1" name="Shape 3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" name="Google Shape;312;p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3" name="Google Shape;313;p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4" name="Google Shape;314;p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15" name="Google Shape;315;p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6" name="Google Shape;316;p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7" name="Google Shape;317;p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8" name="Google Shape;318;p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" name="Google Shape;319;p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">
    <p:spTree>
      <p:nvGrpSpPr>
        <p:cNvPr id="1" name="Shape 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Google Shape;321;p8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2" name="Google Shape;322;p8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3" name="Google Shape;323;p8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4" name="Google Shape;324;p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5" name="Google Shape;325;p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6" name="Google Shape;326;p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27" name="Google Shape;327;p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8" name="Google Shape;328;p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9" name="Google Shape;329;p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0" name="Google Shape;330;p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1" name="Google Shape;331;p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32" name="Google Shape;332;p8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">
    <p:spTree>
      <p:nvGrpSpPr>
        <p:cNvPr id="1" name="Shape 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" name="Google Shape;334;p8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5" name="Google Shape;335;p8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6" name="Google Shape;336;p8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7" name="Google Shape;337;p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8" name="Google Shape;338;p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9" name="Google Shape;339;p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40" name="Google Shape;340;p8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1" name="Google Shape;341;p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2" name="Google Shape;342;p8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43" name="Google Shape;343;p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4" name="Google Shape;344;p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45" name="Google Shape;345;p8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4">
    <p:spTree>
      <p:nvGrpSpPr>
        <p:cNvPr id="1" name="Shape 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" name="Google Shape;347;p8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8" name="Google Shape;348;p8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9" name="Google Shape;349;p8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50" name="Google Shape;350;p8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51" name="Google Shape;351;p8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52" name="Google Shape;352;p8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353;p8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54" name="Google Shape;354;p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5">
    <p:bg>
      <p:bgPr>
        <a:solidFill>
          <a:schemeClr val="lt2"/>
        </a:solidFill>
        <a:effectLst/>
      </p:bgPr>
    </p:bg>
    <p:spTree>
      <p:nvGrpSpPr>
        <p:cNvPr id="1" name="Shape 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6" name="Google Shape;356;p8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57" name="Google Shape;357;p8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358;p8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359;p8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60" name="Google Shape;360;p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61" name="Google Shape;361;p8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2" name="Google Shape;362;p8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9" y="5400326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2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348" y="136526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388239"/>
      </p:ext>
    </p:extLst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3">
    <p:spTree>
      <p:nvGrpSpPr>
        <p:cNvPr id="1" name="Shape 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p9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65" name="Google Shape;365;p9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66" name="Google Shape;366;p9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67" name="Google Shape;367;p9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368;p9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69" name="Google Shape;369;p9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70" name="Google Shape;370;p9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">
    <p:spTree>
      <p:nvGrpSpPr>
        <p:cNvPr id="1" name="Shape 3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2" name="Google Shape;372;p9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3" name="Google Shape;373;p9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4" name="Google Shape;374;p9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5" name="Google Shape;375;p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6" name="Google Shape;376;p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7" name="Google Shape;377;p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78" name="Google Shape;378;p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9" name="Google Shape;379;p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0" name="Google Shape;380;p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81" name="Google Shape;381;p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82" name="Google Shape;382;p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83" name="Google Shape;383;p9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">
    <p:spTree>
      <p:nvGrpSpPr>
        <p:cNvPr id="1" name="Shape 3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5" name="Google Shape;385;p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6" name="Google Shape;386;p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87" name="Google Shape;387;p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88" name="Google Shape;388;p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9" name="Google Shape;389;p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0" name="Google Shape;390;p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1" name="Google Shape;391;p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92" name="Google Shape;392;p9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3" name="Google Shape;393;p9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94" name="Google Shape;394;p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5" name="Google Shape;395;p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2">
    <p:spTree>
      <p:nvGrpSpPr>
        <p:cNvPr id="1" name="Shape 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7" name="Google Shape;397;p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98" name="Google Shape;398;p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9" name="Google Shape;399;p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0" name="Google Shape;400;p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1" name="Google Shape;401;p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2" name="Google Shape;402;p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3" name="Google Shape;403;p9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04" name="Google Shape;404;p9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5" name="Google Shape;405;p9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06" name="Google Shape;406;p9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7" name="Google Shape;407;p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8" name="Google Shape;408;p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9" name="Google Shape;409;p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2">
    <p:spTree>
      <p:nvGrpSpPr>
        <p:cNvPr id="1" name="Shape 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1" name="Google Shape;411;p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12" name="Google Shape;412;p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3" name="Google Shape;413;p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14" name="Google Shape;414;p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5" name="Google Shape;415;p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16" name="Google Shape;416;p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7" name="Google Shape;417;p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8" name="Google Shape;418;p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9" name="Google Shape;419;p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">
    <p:spTree>
      <p:nvGrpSpPr>
        <p:cNvPr id="1" name="Shape 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1" name="Google Shape;421;p9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22" name="Google Shape;422;p9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3" name="Google Shape;423;p9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24" name="Google Shape;424;p9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5" name="Google Shape;425;p9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6" name="Google Shape;426;p9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27" name="Google Shape;427;p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28" name="Google Shape;428;p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3">
    <p:spTree>
      <p:nvGrpSpPr>
        <p:cNvPr id="1" name="Shape 4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Google Shape;430;p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1" name="Google Shape;431;p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2" name="Google Shape;432;p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33" name="Google Shape;433;p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4" name="Google Shape;434;p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5" name="Google Shape;435;p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6" name="Google Shape;436;p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" name="Google Shape;437;p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">
    <p:spTree>
      <p:nvGrpSpPr>
        <p:cNvPr id="1" name="Shape 4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9" name="Google Shape;439;p9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0" name="Google Shape;440;p9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1" name="Google Shape;441;p9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42" name="Google Shape;442;p9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43" name="Google Shape;443;p9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44" name="Google Shape;444;p9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5" name="Google Shape;445;p9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46" name="Google Shape;446;p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">
    <p:bg>
      <p:bgPr>
        <a:solidFill>
          <a:schemeClr val="lt2"/>
        </a:solidFill>
        <a:effectLst/>
      </p:bgPr>
    </p:bg>
    <p:spTree>
      <p:nvGrpSpPr>
        <p:cNvPr id="1" name="Shape 4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8" name="Google Shape;448;p9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49" name="Google Shape;449;p9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0" name="Google Shape;450;p9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1" name="Google Shape;451;p9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52" name="Google Shape;452;p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53" name="Google Shape;453;p9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4" name="Google Shape;454;p9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">
    <p:spTree>
      <p:nvGrpSpPr>
        <p:cNvPr id="1" name="Shape 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6" name="Google Shape;456;p9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7" name="Google Shape;457;p9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8" name="Google Shape;458;p9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9" name="Google Shape;459;p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0" name="Google Shape;460;p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1" name="Google Shape;461;p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62" name="Google Shape;462;p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63" name="Google Shape;463;p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4" name="Google Shape;464;p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5" name="Google Shape;465;p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6" name="Google Shape;466;p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67" name="Google Shape;467;p9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68412230"/>
      </p:ext>
    </p:extLst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4">
    <p:spTree>
      <p:nvGrpSpPr>
        <p:cNvPr id="1" name="Shape 4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9" name="Google Shape;469;p10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70" name="Google Shape;470;p10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71" name="Google Shape;471;p10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72" name="Google Shape;472;p10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3" name="Google Shape;473;p10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74" name="Google Shape;474;p10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75" name="Google Shape;475;p10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">
    <p:spTree>
      <p:nvGrpSpPr>
        <p:cNvPr id="1" name="Shape 4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7" name="Google Shape;477;p10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8" name="Google Shape;478;p10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9" name="Google Shape;479;p10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0" name="Google Shape;480;p1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1" name="Google Shape;481;p1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2" name="Google Shape;482;p1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83" name="Google Shape;483;p1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4" name="Google Shape;484;p1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5" name="Google Shape;485;p1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6" name="Google Shape;486;p1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7" name="Google Shape;487;p1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88" name="Google Shape;488;p10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3">
    <p:spTree>
      <p:nvGrpSpPr>
        <p:cNvPr id="1" name="Shape 4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0" name="Google Shape;490;p10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1" name="Google Shape;491;p10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92" name="Google Shape;492;p1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3" name="Google Shape;493;p1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4" name="Google Shape;494;p1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5" name="Google Shape;495;p1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6" name="Google Shape;496;p1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97" name="Google Shape;497;p10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8" name="Google Shape;498;p10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9" name="Google Shape;499;p1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0" name="Google Shape;500;p1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">
    <p:spTree>
      <p:nvGrpSpPr>
        <p:cNvPr id="1" name="Shape 5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2" name="Google Shape;502;p1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3" name="Google Shape;503;p1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4" name="Google Shape;504;p1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5" name="Google Shape;505;p1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" name="Google Shape;506;p1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07" name="Google Shape;507;p1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8" name="Google Shape;508;p10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09" name="Google Shape;509;p10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0" name="Google Shape;510;p10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11" name="Google Shape;511;p10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2" name="Google Shape;512;p1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3" name="Google Shape;513;p1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4" name="Google Shape;514;p1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">
    <p:spTree>
      <p:nvGrpSpPr>
        <p:cNvPr id="1" name="Shape 5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6" name="Google Shape;516;p1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7" name="Google Shape;517;p1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8" name="Google Shape;518;p1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9" name="Google Shape;519;p1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0" name="Google Shape;520;p1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21" name="Google Shape;521;p1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2" name="Google Shape;522;p1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3" name="Google Shape;523;p1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4" name="Google Shape;524;p1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4">
    <p:spTree>
      <p:nvGrpSpPr>
        <p:cNvPr id="1" name="Shape 5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6" name="Google Shape;526;p10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27" name="Google Shape;527;p10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8" name="Google Shape;528;p10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29" name="Google Shape;529;p10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0" name="Google Shape;530;p10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1" name="Google Shape;531;p10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32" name="Google Shape;532;p1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33" name="Google Shape;533;p10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4">
    <p:spTree>
      <p:nvGrpSpPr>
        <p:cNvPr id="1" name="Shape 5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5" name="Google Shape;535;p1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6" name="Google Shape;536;p1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7" name="Google Shape;537;p1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38" name="Google Shape;538;p1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9" name="Google Shape;539;p1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0" name="Google Shape;540;p1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41" name="Google Shape;541;p1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2" name="Google Shape;542;p1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5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4" name="Google Shape;544;p107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5" name="Google Shape;545;p107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546" name="Google Shape;546;p107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547" name="Google Shape;547;p107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8" name="Google Shape;548;p107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549" name="Google Shape;549;p10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7">
    <p:bg>
      <p:bgPr>
        <a:solidFill>
          <a:schemeClr val="lt2"/>
        </a:solidFill>
        <a:effectLst/>
      </p:bgPr>
    </p:bg>
    <p:spTree>
      <p:nvGrpSpPr>
        <p:cNvPr id="1" name="Shape 5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1" name="Google Shape;551;p10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52" name="Google Shape;552;p10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3" name="Google Shape;553;p10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4" name="Google Shape;554;p10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55" name="Google Shape;555;p1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56" name="Google Shape;556;p10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7" name="Google Shape;557;p10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">
    <p:spTree>
      <p:nvGrpSpPr>
        <p:cNvPr id="1" name="Shape 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9" name="Google Shape;559;p10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60" name="Google Shape;560;p10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61" name="Google Shape;561;p10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62" name="Google Shape;562;p10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3" name="Google Shape;563;p10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64" name="Google Shape;564;p10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65" name="Google Shape;565;p1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7651266"/>
      </p:ext>
    </p:extLst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6">
    <p:spTree>
      <p:nvGrpSpPr>
        <p:cNvPr id="1" name="Shape 5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7" name="Google Shape;567;p11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8" name="Google Shape;568;p11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9" name="Google Shape;569;p11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70" name="Google Shape;570;p11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71" name="Google Shape;571;p11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72" name="Google Shape;572;p11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3" name="Google Shape;573;p11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74" name="Google Shape;574;p1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">
    <p:spTree>
      <p:nvGrpSpPr>
        <p:cNvPr id="1" name="Shape 5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6" name="Google Shape;576;p1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77" name="Google Shape;577;p1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8" name="Google Shape;578;p1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79" name="Google Shape;579;p1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0" name="Google Shape;580;p1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81" name="Google Shape;581;p11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2" name="Google Shape;582;p11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3" name="Google Shape;583;p1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4" name="Google Shape;584;p1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5" name="Google Shape;585;p1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"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11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8" name="Google Shape;588;p11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89" name="Google Shape;589;p1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0" name="Google Shape;590;p1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1" name="Google Shape;591;p1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2" name="Google Shape;592;p1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3" name="Google Shape;593;p1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94" name="Google Shape;594;p11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5" name="Google Shape;595;p11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6" name="Google Shape;596;p1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7" name="Google Shape;597;p1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4">
    <p:spTree>
      <p:nvGrpSpPr>
        <p:cNvPr id="1" name="Shape 5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9" name="Google Shape;599;p1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0" name="Google Shape;600;p1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1" name="Google Shape;601;p1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2" name="Google Shape;602;p1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3" name="Google Shape;603;p1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04" name="Google Shape;604;p1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5" name="Google Shape;605;p11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06" name="Google Shape;606;p11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7" name="Google Shape;607;p11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08" name="Google Shape;608;p11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9" name="Google Shape;609;p1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0" name="Google Shape;610;p1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1" name="Google Shape;611;p1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4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3" name="Google Shape;613;p1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4" name="Google Shape;614;p1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5" name="Google Shape;615;p1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6" name="Google Shape;616;p1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7" name="Google Shape;617;p1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18" name="Google Shape;618;p11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9" name="Google Shape;619;p1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0" name="Google Shape;620;p1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1" name="Google Shape;621;p1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7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3" name="Google Shape;623;p11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4" name="Google Shape;624;p11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5" name="Google Shape;625;p11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26" name="Google Shape;626;p11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27" name="Google Shape;627;p11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28" name="Google Shape;628;p11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9" name="Google Shape;629;p11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30" name="Google Shape;630;p1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8">
    <p:bg>
      <p:bgPr>
        <a:solidFill>
          <a:schemeClr val="lt2"/>
        </a:solidFill>
        <a:effectLst/>
      </p:bgPr>
    </p:bg>
    <p:spTree>
      <p:nvGrpSpPr>
        <p:cNvPr id="1" name="Shape 6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2" name="Google Shape;632;p11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33" name="Google Shape;633;p11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4" name="Google Shape;634;p11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5" name="Google Shape;635;p11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36" name="Google Shape;636;p1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37" name="Google Shape;637;p11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8" name="Google Shape;638;p11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6">
    <p:spTree>
      <p:nvGrpSpPr>
        <p:cNvPr id="1" name="Shape 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0" name="Google Shape;640;p11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41" name="Google Shape;641;p11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42" name="Google Shape;642;p11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43" name="Google Shape;643;p11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4" name="Google Shape;644;p11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45" name="Google Shape;645;p11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46" name="Google Shape;646;p1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">
    <p:spTree>
      <p:nvGrpSpPr>
        <p:cNvPr id="1" name="Shape 6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8" name="Google Shape;648;p11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9" name="Google Shape;649;p11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0" name="Google Shape;650;p1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1" name="Google Shape;651;p1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2" name="Google Shape;652;p1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3" name="Google Shape;653;p1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54" name="Google Shape;654;p1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5" name="Google Shape;655;p1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6" name="Google Shape;656;p1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7" name="Google Shape;657;p1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8" name="Google Shape;658;p1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59" name="Google Shape;659;p11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">
    <p:spTree>
      <p:nvGrpSpPr>
        <p:cNvPr id="1" name="Shape 6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1" name="Google Shape;661;p11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2" name="Google Shape;662;p11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3" name="Google Shape;663;p11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4" name="Google Shape;664;p1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5" name="Google Shape;665;p1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6" name="Google Shape;666;p1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67" name="Google Shape;667;p1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68" name="Google Shape;668;p1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9" name="Google Shape;669;p1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0" name="Google Shape;670;p1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1" name="Google Shape;671;p1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72" name="Google Shape;672;p11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8896833"/>
      </p:ext>
    </p:extLst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9">
    <p:spTree>
      <p:nvGrpSpPr>
        <p:cNvPr id="1" name="Shape 6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4" name="Google Shape;674;p1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5" name="Google Shape;675;p1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6" name="Google Shape;676;p1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7" name="Google Shape;677;p1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8" name="Google Shape;678;p1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79" name="Google Shape;679;p12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0" name="Google Shape;680;p12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1" name="Google Shape;681;p1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2" name="Google Shape;682;p1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3" name="Google Shape;683;p1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5"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Google Shape;685;p1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6" name="Google Shape;686;p12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87" name="Google Shape;687;p1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8" name="Google Shape;688;p1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9" name="Google Shape;689;p1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0" name="Google Shape;690;p1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1" name="Google Shape;691;p1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92" name="Google Shape;692;p12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3" name="Google Shape;693;p12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4" name="Google Shape;694;p1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5" name="Google Shape;695;p1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5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7" name="Google Shape;697;p1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8" name="Google Shape;698;p1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9" name="Google Shape;699;p1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0" name="Google Shape;700;p1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1" name="Google Shape;701;p1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02" name="Google Shape;702;p1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3" name="Google Shape;703;p12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04" name="Google Shape;704;p12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5" name="Google Shape;705;p12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06" name="Google Shape;706;p12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7" name="Google Shape;707;p1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8" name="Google Shape;708;p1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9" name="Google Shape;709;p1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5">
    <p:spTree>
      <p:nvGrpSpPr>
        <p:cNvPr id="1" name="Shape 7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1" name="Google Shape;711;p1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12" name="Google Shape;712;p1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3" name="Google Shape;713;p1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4" name="Google Shape;714;p1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5" name="Google Shape;715;p1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16" name="Google Shape;716;p1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7" name="Google Shape;717;p1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8" name="Google Shape;718;p1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9" name="Google Shape;719;p1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5">
    <p:spTree>
      <p:nvGrpSpPr>
        <p:cNvPr id="1" name="Shape 7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1" name="Google Shape;721;p12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22" name="Google Shape;722;p12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3" name="Google Shape;723;p12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24" name="Google Shape;724;p12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5" name="Google Shape;725;p12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6" name="Google Shape;726;p12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27" name="Google Shape;727;p1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12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5">
    <p:spTree>
      <p:nvGrpSpPr>
        <p:cNvPr id="1" name="Shape 7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0" name="Google Shape;730;p1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1" name="Google Shape;731;p1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2" name="Google Shape;732;p1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33" name="Google Shape;733;p1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4" name="Google Shape;734;p1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5" name="Google Shape;735;p1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6" name="Google Shape;736;p1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7" name="Google Shape;737;p1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8">
    <p:spTree>
      <p:nvGrpSpPr>
        <p:cNvPr id="1" name="Shape 7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9" name="Google Shape;739;p12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0" name="Google Shape;740;p12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1" name="Google Shape;741;p12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42" name="Google Shape;742;p12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43" name="Google Shape;743;p12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44" name="Google Shape;744;p12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5" name="Google Shape;745;p12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46" name="Google Shape;746;p1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9">
    <p:bg>
      <p:bgPr>
        <a:solidFill>
          <a:schemeClr val="lt2"/>
        </a:solidFill>
        <a:effectLst/>
      </p:bgPr>
    </p:bg>
    <p:spTree>
      <p:nvGrpSpPr>
        <p:cNvPr id="1" name="Shape 7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8" name="Google Shape;748;p12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49" name="Google Shape;749;p12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0" name="Google Shape;750;p12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1" name="Google Shape;751;p12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52" name="Google Shape;752;p1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53" name="Google Shape;753;p12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4" name="Google Shape;754;p12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">
    <p:spTree>
      <p:nvGrpSpPr>
        <p:cNvPr id="1" name="Shape 7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6" name="Google Shape;756;p12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7" name="Google Shape;757;p12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8" name="Google Shape;758;p12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9" name="Google Shape;759;p1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60" name="Google Shape;760;p1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61" name="Google Shape;761;p1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62" name="Google Shape;762;p1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63" name="Google Shape;763;p1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64" name="Google Shape;764;p1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65" name="Google Shape;765;p1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6" name="Google Shape;766;p1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67" name="Google Shape;767;p12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0">
    <p:spTree>
      <p:nvGrpSpPr>
        <p:cNvPr id="1" name="Shape 7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9" name="Google Shape;769;p12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0" name="Google Shape;770;p1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71" name="Google Shape;771;p1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72" name="Google Shape;772;p1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3" name="Google Shape;773;p1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74" name="Google Shape;774;p12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5" name="Google Shape;775;p12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6" name="Google Shape;776;p1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77" name="Google Shape;777;p1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78" name="Google Shape;778;p1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82089770"/>
      </p:ext>
    </p:extLst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6">
    <p:spTree>
      <p:nvGrpSpPr>
        <p:cNvPr id="1" name="Shape 7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0" name="Google Shape;780;p13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1" name="Google Shape;781;p13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82" name="Google Shape;782;p1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83" name="Google Shape;783;p1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4" name="Google Shape;784;p1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85" name="Google Shape;785;p1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6" name="Google Shape;786;p1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87" name="Google Shape;787;p13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8" name="Google Shape;788;p13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9" name="Google Shape;789;p1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0" name="Google Shape;790;p1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6">
    <p:spTree>
      <p:nvGrpSpPr>
        <p:cNvPr id="1" name="Shape 7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2" name="Google Shape;792;p1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3" name="Google Shape;793;p1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4" name="Google Shape;794;p1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5" name="Google Shape;795;p1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6" name="Google Shape;796;p1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97" name="Google Shape;797;p13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8" name="Google Shape;798;p13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99" name="Google Shape;799;p13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0" name="Google Shape;800;p13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01" name="Google Shape;801;p13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2" name="Google Shape;802;p1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3" name="Google Shape;803;p1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4" name="Google Shape;804;p1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7">
    <p:spTree>
      <p:nvGrpSpPr>
        <p:cNvPr id="1" name="Shape 8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6" name="Google Shape;806;p13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07" name="Google Shape;807;p13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08" name="Google Shape;808;p13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09" name="Google Shape;809;p13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0" name="Google Shape;810;p13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11" name="Google Shape;811;p13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12" name="Google Shape;812;p1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6">
    <p:spTree>
      <p:nvGrpSpPr>
        <p:cNvPr id="1" name="Shape 8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4" name="Google Shape;814;p13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15" name="Google Shape;815;p13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6" name="Google Shape;816;p13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17" name="Google Shape;817;p133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8" name="Google Shape;818;p13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9" name="Google Shape;819;p13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20" name="Google Shape;820;p1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21" name="Google Shape;821;p13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6">
    <p:spTree>
      <p:nvGrpSpPr>
        <p:cNvPr id="1" name="Shape 8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3" name="Google Shape;823;p1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4" name="Google Shape;824;p1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5" name="Google Shape;825;p1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26" name="Google Shape;826;p13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7" name="Google Shape;827;p1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8" name="Google Shape;828;p13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9" name="Google Shape;829;p1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0" name="Google Shape;830;p1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6">
    <p:spTree>
      <p:nvGrpSpPr>
        <p:cNvPr id="1" name="Shape 8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2" name="Google Shape;832;p1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3" name="Google Shape;833;p1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4" name="Google Shape;834;p1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35" name="Google Shape;835;p1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6" name="Google Shape;836;p1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37" name="Google Shape;837;p1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8" name="Google Shape;838;p1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9" name="Google Shape;839;p1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40" name="Google Shape;840;p1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9">
    <p:spTree>
      <p:nvGrpSpPr>
        <p:cNvPr id="1" name="Shape 8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2" name="Google Shape;842;p13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3" name="Google Shape;843;p13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4" name="Google Shape;844;p13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45" name="Google Shape;845;p13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46" name="Google Shape;846;p13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47" name="Google Shape;847;p13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8" name="Google Shape;848;p13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49" name="Google Shape;849;p1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0">
    <p:bg>
      <p:bgPr>
        <a:solidFill>
          <a:schemeClr val="lt2"/>
        </a:solidFill>
        <a:effectLst/>
      </p:bgPr>
    </p:bg>
    <p:spTree>
      <p:nvGrpSpPr>
        <p:cNvPr id="1" name="Shape 8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1" name="Google Shape;851;p13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52" name="Google Shape;852;p13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3" name="Google Shape;853;p13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4" name="Google Shape;854;p13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55" name="Google Shape;855;p1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56" name="Google Shape;856;p13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7" name="Google Shape;857;p13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">
    <p:spTree>
      <p:nvGrpSpPr>
        <p:cNvPr id="1" name="Shape 8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9" name="Google Shape;859;p13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0" name="Google Shape;860;p13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1" name="Google Shape;861;p13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2" name="Google Shape;862;p1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3" name="Google Shape;863;p1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4" name="Google Shape;864;p1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65" name="Google Shape;865;p1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66" name="Google Shape;866;p1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7" name="Google Shape;867;p1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68" name="Google Shape;868;p1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9" name="Google Shape;869;p1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70" name="Google Shape;870;p13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1">
    <p:spTree>
      <p:nvGrpSpPr>
        <p:cNvPr id="1" name="Shape 8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2" name="Google Shape;872;p1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73" name="Google Shape;873;p1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4" name="Google Shape;874;p1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75" name="Google Shape;875;p1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6" name="Google Shape;876;p1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77" name="Google Shape;877;p13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8" name="Google Shape;878;p13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9" name="Google Shape;879;p1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0" name="Google Shape;880;p1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1" name="Google Shape;881;p1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57758517"/>
      </p:ext>
    </p:extLst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7">
    <p:spTree>
      <p:nvGrpSpPr>
        <p:cNvPr id="1" name="Shape 8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3" name="Google Shape;883;p14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4" name="Google Shape;884;p14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85" name="Google Shape;885;p14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6" name="Google Shape;886;p1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7" name="Google Shape;887;p14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88" name="Google Shape;888;p1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9" name="Google Shape;889;p1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0" name="Google Shape;890;p14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1" name="Google Shape;891;p14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2" name="Google Shape;892;p1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3" name="Google Shape;893;p1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7"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5" name="Google Shape;895;p1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6" name="Google Shape;896;p1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7" name="Google Shape;897;p1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8" name="Google Shape;898;p1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9" name="Google Shape;899;p1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00" name="Google Shape;900;p14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1" name="Google Shape;901;p14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02" name="Google Shape;902;p14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3" name="Google Shape;903;p14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04" name="Google Shape;904;p14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5" name="Google Shape;905;p1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6" name="Google Shape;906;p1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7" name="Google Shape;907;p1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8">
    <p:spTree>
      <p:nvGrpSpPr>
        <p:cNvPr id="1" name="Shape 9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9" name="Google Shape;909;p14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10" name="Google Shape;910;p14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11" name="Google Shape;911;p14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12" name="Google Shape;912;p14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3" name="Google Shape;913;p14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14" name="Google Shape;914;p14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15" name="Google Shape;915;p1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">
    <p:spTree>
      <p:nvGrpSpPr>
        <p:cNvPr id="1" name="Shape 9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7" name="Google Shape;917;p14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8" name="Google Shape;918;p14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9" name="Google Shape;919;p14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0" name="Google Shape;920;p1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1" name="Google Shape;921;p1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2" name="Google Shape;922;p1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23" name="Google Shape;923;p1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4" name="Google Shape;924;p1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5" name="Google Shape;925;p1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6" name="Google Shape;926;p1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7" name="Google Shape;927;p1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28" name="Google Shape;928;p14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7">
    <p:spTree>
      <p:nvGrpSpPr>
        <p:cNvPr id="1" name="Shape 9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0" name="Google Shape;930;p14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31" name="Google Shape;931;p14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2" name="Google Shape;932;p14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33" name="Google Shape;933;p14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4" name="Google Shape;934;p14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5" name="Google Shape;935;p14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36" name="Google Shape;936;p1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37" name="Google Shape;937;p14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">
    <p:spTree>
      <p:nvGrpSpPr>
        <p:cNvPr id="1" name="Shape 9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9" name="Google Shape;939;p1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0" name="Google Shape;940;p1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1" name="Google Shape;941;p1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42" name="Google Shape;942;p1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3" name="Google Shape;943;p1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4" name="Google Shape;944;p1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5" name="Google Shape;945;p1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6" name="Google Shape;946;p1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7">
    <p:spTree>
      <p:nvGrpSpPr>
        <p:cNvPr id="1" name="Shape 9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8" name="Google Shape;948;p1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9" name="Google Shape;949;p1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0" name="Google Shape;950;p1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1" name="Google Shape;951;p1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2" name="Google Shape;952;p1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53" name="Google Shape;953;p1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4" name="Google Shape;954;p1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5" name="Google Shape;955;p1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6" name="Google Shape;956;p1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">
    <p:spTree>
      <p:nvGrpSpPr>
        <p:cNvPr id="1" name="Shape 9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8" name="Google Shape;958;p14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9" name="Google Shape;959;p14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0" name="Google Shape;960;p14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61" name="Google Shape;961;p14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62" name="Google Shape;962;p14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63" name="Google Shape;963;p14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4" name="Google Shape;964;p14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65" name="Google Shape;965;p14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">
    <p:bg>
      <p:bgPr>
        <a:solidFill>
          <a:schemeClr val="lt2"/>
        </a:solidFill>
        <a:effectLst/>
      </p:bgPr>
    </p:bg>
    <p:spTree>
      <p:nvGrpSpPr>
        <p:cNvPr id="1" name="Shape 9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7" name="Google Shape;967;p14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68" name="Google Shape;968;p14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9" name="Google Shape;969;p14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0" name="Google Shape;970;p14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71" name="Google Shape;971;p14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72" name="Google Shape;972;p14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3" name="Google Shape;973;p14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9">
    <p:spTree>
      <p:nvGrpSpPr>
        <p:cNvPr id="1" name="Shape 9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5" name="Google Shape;975;p14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76" name="Google Shape;976;p14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77" name="Google Shape;977;p14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78" name="Google Shape;978;p14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9" name="Google Shape;979;p14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80" name="Google Shape;980;p14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81" name="Google Shape;981;p14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23406442"/>
      </p:ext>
    </p:extLst>
  </p:cSld>
  <p:clrMapOvr>
    <a:masterClrMapping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">
    <p:spTree>
      <p:nvGrpSpPr>
        <p:cNvPr id="1" name="Shape 9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" name="Google Shape;983;p15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4" name="Google Shape;984;p15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5" name="Google Shape;985;p15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6" name="Google Shape;986;p1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7" name="Google Shape;987;p1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8" name="Google Shape;988;p1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89" name="Google Shape;989;p1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0" name="Google Shape;990;p15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1" name="Google Shape;991;p1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2" name="Google Shape;992;p1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3" name="Google Shape;993;p1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94" name="Google Shape;994;p15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">
    <p:spTree>
      <p:nvGrpSpPr>
        <p:cNvPr id="1" name="Shape 9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6" name="Google Shape;996;p15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7" name="Google Shape;997;p15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8" name="Google Shape;998;p15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9" name="Google Shape;999;p1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0" name="Google Shape;1000;p1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1" name="Google Shape;1001;p1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02" name="Google Shape;1002;p1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3" name="Google Shape;1003;p15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4" name="Google Shape;1004;p1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5" name="Google Shape;1005;p1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6" name="Google Shape;1006;p1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07" name="Google Shape;1007;p15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2">
    <p:spTree>
      <p:nvGrpSpPr>
        <p:cNvPr id="1" name="Shape 10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9" name="Google Shape;1009;p15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0" name="Google Shape;1010;p15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1" name="Google Shape;1011;p15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2" name="Google Shape;1012;p1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3" name="Google Shape;1013;p1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14" name="Google Shape;1014;p15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5" name="Google Shape;1015;p15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6" name="Google Shape;1016;p1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7" name="Google Shape;1017;p1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8" name="Google Shape;1018;p1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8">
    <p:spTree>
      <p:nvGrpSpPr>
        <p:cNvPr id="1" name="Shape 10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0" name="Google Shape;1020;p15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1" name="Google Shape;1021;p15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22" name="Google Shape;1022;p1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3" name="Google Shape;1023;p15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4" name="Google Shape;1024;p1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5" name="Google Shape;1025;p1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6" name="Google Shape;1026;p1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27" name="Google Shape;1027;p15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8" name="Google Shape;1028;p15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9" name="Google Shape;1029;p1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0" name="Google Shape;1030;p1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">
    <p:spTree>
      <p:nvGrpSpPr>
        <p:cNvPr id="1" name="Shape 10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2" name="Google Shape;1032;p1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3" name="Google Shape;1033;p15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4" name="Google Shape;1034;p1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5" name="Google Shape;1035;p1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6" name="Google Shape;1036;p1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37" name="Google Shape;1037;p15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8" name="Google Shape;1038;p15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39" name="Google Shape;1039;p15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0" name="Google Shape;1040;p15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41" name="Google Shape;1041;p15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2" name="Google Shape;1042;p1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3" name="Google Shape;1043;p1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4" name="Google Shape;1044;p1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">
    <p:spTree>
      <p:nvGrpSpPr>
        <p:cNvPr id="1" name="Shape 10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6" name="Google Shape;1046;p1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7" name="Google Shape;1047;p15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8" name="Google Shape;1048;p1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9" name="Google Shape;1049;p1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0" name="Google Shape;1050;p1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51" name="Google Shape;1051;p15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2" name="Google Shape;1052;p1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3" name="Google Shape;1053;p1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4" name="Google Shape;1054;p1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8">
    <p:spTree>
      <p:nvGrpSpPr>
        <p:cNvPr id="1" name="Shape 10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6" name="Google Shape;1056;p15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57" name="Google Shape;1057;p15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58" name="Google Shape;1058;p15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59" name="Google Shape;1059;p15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0" name="Google Shape;1060;p15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1" name="Google Shape;1061;p15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62" name="Google Shape;1062;p15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63" name="Google Shape;1063;p15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8">
    <p:spTree>
      <p:nvGrpSpPr>
        <p:cNvPr id="1" name="Shape 10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" name="Google Shape;1065;p1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6" name="Google Shape;1066;p1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7" name="Google Shape;1067;p1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8" name="Google Shape;1068;p1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9" name="Google Shape;1069;p15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0" name="Google Shape;1070;p1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1" name="Google Shape;1071;p1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2" name="Google Shape;1072;p1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">
    <p:spTree>
      <p:nvGrpSpPr>
        <p:cNvPr id="1" name="Shape 1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4" name="Google Shape;1074;p15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5" name="Google Shape;1075;p15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6" name="Google Shape;1076;p15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7" name="Google Shape;1077;p1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8" name="Google Shape;1078;p1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9" name="Google Shape;1079;p1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0" name="Google Shape;1080;p1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1" name="Google Shape;1081;p1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2" name="Google Shape;1082;p1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3" name="Google Shape;1083;p1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4" name="Google Shape;1084;p1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85" name="Google Shape;1085;p15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">
    <p:spTree>
      <p:nvGrpSpPr>
        <p:cNvPr id="1" name="Shape 10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7" name="Google Shape;1087;p15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88" name="Google Shape;1088;p15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9" name="Google Shape;1089;p15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90" name="Google Shape;1090;p15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1" name="Google Shape;1091;p15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2" name="Google Shape;1092;p15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93" name="Google Shape;1093;p1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94" name="Google Shape;1094;p15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77243743"/>
      </p:ext>
    </p:extLst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1">
    <p:spTree>
      <p:nvGrpSpPr>
        <p:cNvPr id="1" name="Shape 10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6" name="Google Shape;1096;p16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7" name="Google Shape;1097;p16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8" name="Google Shape;1098;p16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99" name="Google Shape;1099;p16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00" name="Google Shape;1100;p16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01" name="Google Shape;1101;p1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2" name="Google Shape;1102;p16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03" name="Google Shape;1103;p1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2">
    <p:bg>
      <p:bgPr>
        <a:solidFill>
          <a:schemeClr val="lt2"/>
        </a:solidFill>
        <a:effectLst/>
      </p:bgPr>
    </p:bg>
    <p:spTree>
      <p:nvGrpSpPr>
        <p:cNvPr id="1" name="Shape 1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5" name="Google Shape;1105;p16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06" name="Google Shape;1106;p16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7" name="Google Shape;1107;p16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8" name="Google Shape;1108;p16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09" name="Google Shape;1109;p1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10" name="Google Shape;1110;p16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1" name="Google Shape;1111;p16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">
    <p:spTree>
      <p:nvGrpSpPr>
        <p:cNvPr id="1" name="Shape 1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3" name="Google Shape;1113;p16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14" name="Google Shape;1114;p16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5" name="Google Shape;1115;p16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16" name="Google Shape;1116;p16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7" name="Google Shape;1117;p16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18" name="Google Shape;1118;p16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19" name="Google Shape;1119;p1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">
    <p:spTree>
      <p:nvGrpSpPr>
        <p:cNvPr id="1" name="Shape 1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1" name="Google Shape;1121;p16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2" name="Google Shape;1122;p16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3" name="Google Shape;1123;p1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4" name="Google Shape;1124;p1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25" name="Google Shape;1125;p1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26" name="Google Shape;1126;p1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27" name="Google Shape;1127;p1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28" name="Google Shape;1128;p1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9" name="Google Shape;1129;p1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30" name="Google Shape;1130;p1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1" name="Google Shape;1131;p1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32" name="Google Shape;1132;p16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">
    <p:spTree>
      <p:nvGrpSpPr>
        <p:cNvPr id="1" name="Shape 1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4" name="Google Shape;1134;p16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5" name="Google Shape;1135;p16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6" name="Google Shape;1136;p16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7" name="Google Shape;1137;p1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8" name="Google Shape;1138;p1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9" name="Google Shape;1139;p1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40" name="Google Shape;1140;p1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1" name="Google Shape;1141;p1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2" name="Google Shape;1142;p1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3" name="Google Shape;1143;p1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4" name="Google Shape;1144;p1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45" name="Google Shape;1145;p16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">
    <p:spTree>
      <p:nvGrpSpPr>
        <p:cNvPr id="1" name="Shape 1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7" name="Google Shape;1147;p1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8" name="Google Shape;1148;p1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9" name="Google Shape;1149;p1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0" name="Google Shape;1150;p1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1" name="Google Shape;1151;p1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52" name="Google Shape;1152;p1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3" name="Google Shape;1153;p16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4" name="Google Shape;1154;p1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5" name="Google Shape;1155;p1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6" name="Google Shape;1156;p1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">
    <p:spTree>
      <p:nvGrpSpPr>
        <p:cNvPr id="1" name="Shape 1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8" name="Google Shape;1158;p1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9" name="Google Shape;1159;p16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60" name="Google Shape;1160;p1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1" name="Google Shape;1161;p1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2" name="Google Shape;1162;p1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3" name="Google Shape;1163;p1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4" name="Google Shape;1164;p1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5" name="Google Shape;1165;p16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6" name="Google Shape;1166;p16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7" name="Google Shape;1167;p1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8" name="Google Shape;1168;p1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9">
    <p:spTree>
      <p:nvGrpSpPr>
        <p:cNvPr id="1" name="Shape 1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0" name="Google Shape;1170;p1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71" name="Google Shape;1171;p1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2" name="Google Shape;1172;p1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73" name="Google Shape;1173;p1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4" name="Google Shape;1174;p1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75" name="Google Shape;1175;p1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6" name="Google Shape;1176;p16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77" name="Google Shape;1177;p16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8" name="Google Shape;1178;p16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79" name="Google Shape;1179;p16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0" name="Google Shape;1180;p1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1" name="Google Shape;1181;p1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2" name="Google Shape;1182;p1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9">
    <p:spTree>
      <p:nvGrpSpPr>
        <p:cNvPr id="1" name="Shape 1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84" name="Google Shape;1184;p1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5" name="Google Shape;1185;p1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6" name="Google Shape;1186;p1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7" name="Google Shape;1187;p1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8" name="Google Shape;1188;p1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89" name="Google Shape;1189;p16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0" name="Google Shape;1190;p1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91" name="Google Shape;1191;p1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92" name="Google Shape;1192;p1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9">
    <p:spTree>
      <p:nvGrpSpPr>
        <p:cNvPr id="1" name="Shape 1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4" name="Google Shape;1194;p1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95" name="Google Shape;1195;p1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96" name="Google Shape;1196;p1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97" name="Google Shape;1197;p1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98" name="Google Shape;1198;p1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99" name="Google Shape;1199;p1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00" name="Google Shape;1200;p1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1" name="Google Shape;1201;p1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23891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875377"/>
      </p:ext>
    </p:extLst>
  </p:cSld>
  <p:clrMapOvr>
    <a:masterClrMapping/>
  </p:clrMapOvr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">
    <p:spTree>
      <p:nvGrpSpPr>
        <p:cNvPr id="1" name="Shape 1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3" name="Google Shape;1203;p17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4" name="Google Shape;1204;p17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5" name="Google Shape;1205;p17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6" name="Google Shape;1206;p1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07" name="Google Shape;1207;p1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08" name="Google Shape;1208;p1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09" name="Google Shape;1209;p1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10" name="Google Shape;1210;p1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11" name="Google Shape;1211;p1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12" name="Google Shape;1212;p1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3" name="Google Shape;1213;p1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14" name="Google Shape;1214;p17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0">
    <p:spTree>
      <p:nvGrpSpPr>
        <p:cNvPr id="1" name="Shape 1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16" name="Google Shape;1216;p17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217" name="Google Shape;1217;p17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8" name="Google Shape;1218;p17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19" name="Google Shape;1219;p17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0" name="Google Shape;1220;p17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1" name="Google Shape;1221;p17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22" name="Google Shape;1222;p1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223" name="Google Shape;1223;p17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0">
    <p:spTree>
      <p:nvGrpSpPr>
        <p:cNvPr id="1" name="Shape 1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5" name="Google Shape;1225;p1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26" name="Google Shape;1226;p1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27" name="Google Shape;1227;p1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28" name="Google Shape;1228;p1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29" name="Google Shape;1229;p1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30" name="Google Shape;1230;p1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31" name="Google Shape;1231;p1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2" name="Google Shape;1232;p1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1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4" name="Google Shape;1234;p17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5" name="Google Shape;1235;p17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6" name="Google Shape;1236;p17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7" name="Google Shape;1237;p1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38" name="Google Shape;1238;p1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39" name="Google Shape;1239;p1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40" name="Google Shape;1240;p1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41" name="Google Shape;1241;p1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42" name="Google Shape;1242;p1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43" name="Google Shape;1243;p1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4" name="Google Shape;1244;p1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45" name="Google Shape;1245;p17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">
    <p:spTree>
      <p:nvGrpSpPr>
        <p:cNvPr id="1" name="Shape 1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7" name="Google Shape;1247;p17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8" name="Google Shape;1248;p17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9" name="Google Shape;1249;p17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0" name="Google Shape;1250;p1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51" name="Google Shape;1251;p1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52" name="Google Shape;1252;p1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53" name="Google Shape;1253;p1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54" name="Google Shape;1254;p1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55" name="Google Shape;1255;p1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56" name="Google Shape;1256;p1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7" name="Google Shape;1257;p1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58" name="Google Shape;1258;p17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12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0" name="Google Shape;1260;p175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1" name="Google Shape;1261;p175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62" name="Google Shape;1262;p1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263" name="Google Shape;1263;p175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64" name="Google Shape;1264;p17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265" name="Google Shape;1265;p175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6" name="Google Shape;1266;p175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7" name="Google Shape;1267;p175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8" name="Google Shape;1268;p1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9" name="Google Shape;1269;p17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70" name="Google Shape;1270;p1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1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" name="Google Shape;1272;p17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3" name="Google Shape;1273;p17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4" name="Google Shape;1274;p17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5" name="Google Shape;1275;p1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76" name="Google Shape;1276;p1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77" name="Google Shape;1277;p1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78" name="Google Shape;1278;p1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79" name="Google Shape;1279;p1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80" name="Google Shape;1280;p1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81" name="Google Shape;1281;p1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2" name="Google Shape;1282;p1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83" name="Google Shape;1283;p17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">
    <p:spTree>
      <p:nvGrpSpPr>
        <p:cNvPr id="1" name="Shape 1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5" name="Google Shape;1285;p17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6" name="Google Shape;1286;p17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7" name="Google Shape;1287;p17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8" name="Google Shape;1288;p1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89" name="Google Shape;1289;p1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90" name="Google Shape;1290;p1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91" name="Google Shape;1291;p1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92" name="Google Shape;1292;p1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93" name="Google Shape;1293;p1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94" name="Google Shape;1294;p1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5" name="Google Shape;1295;p1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96" name="Google Shape;1296;p17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">
    <p:spTree>
      <p:nvGrpSpPr>
        <p:cNvPr id="1" name="Shape 1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8" name="Google Shape;1298;p17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9" name="Google Shape;1299;p17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0" name="Google Shape;1300;p17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1" name="Google Shape;1301;p1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02" name="Google Shape;1302;p1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03" name="Google Shape;1303;p1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04" name="Google Shape;1304;p1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05" name="Google Shape;1305;p1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06" name="Google Shape;1306;p1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07" name="Google Shape;1307;p1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8" name="Google Shape;1308;p1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09" name="Google Shape;1309;p17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">
    <p:spTree>
      <p:nvGrpSpPr>
        <p:cNvPr id="1" name="Shape 1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1" name="Google Shape;1311;p17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2" name="Google Shape;1312;p17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3" name="Google Shape;1313;p1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4" name="Google Shape;1314;p1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15" name="Google Shape;1315;p1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16" name="Google Shape;1316;p1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17" name="Google Shape;1317;p1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18" name="Google Shape;1318;p1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19" name="Google Shape;1319;p1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20" name="Google Shape;1320;p1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1" name="Google Shape;1321;p1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22" name="Google Shape;1322;p17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216092"/>
      </p:ext>
    </p:extLst>
  </p:cSld>
  <p:clrMapOvr>
    <a:masterClrMapping/>
  </p:clrMapOvr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">
    <p:spTree>
      <p:nvGrpSpPr>
        <p:cNvPr id="1" name="Shape 1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4" name="Google Shape;1324;p18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5" name="Google Shape;1325;p18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6" name="Google Shape;1326;p18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7" name="Google Shape;1327;p1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28" name="Google Shape;1328;p1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29" name="Google Shape;1329;p1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30" name="Google Shape;1330;p1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31" name="Google Shape;1331;p1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32" name="Google Shape;1332;p1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33" name="Google Shape;1333;p1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4" name="Google Shape;1334;p1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35" name="Google Shape;1335;p18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2">
    <p:spTree>
      <p:nvGrpSpPr>
        <p:cNvPr id="1" name="Shape 13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Google Shape;1337;p18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8" name="Google Shape;1338;p18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9" name="Google Shape;1339;p18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340" name="Google Shape;1340;p18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341" name="Google Shape;1341;p18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342" name="Google Shape;1342;p18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3" name="Google Shape;1343;p18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44" name="Google Shape;1344;p1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3">
    <p:bg>
      <p:bgPr>
        <a:solidFill>
          <a:schemeClr val="lt2"/>
        </a:solidFill>
        <a:effectLst/>
      </p:bgPr>
    </p:bg>
    <p:spTree>
      <p:nvGrpSpPr>
        <p:cNvPr id="1" name="Shape 13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46" name="Google Shape;1346;p18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347" name="Google Shape;1347;p18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8" name="Google Shape;1348;p18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9" name="Google Shape;1349;p18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50" name="Google Shape;1350;p1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51" name="Google Shape;1351;p18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2" name="Google Shape;1352;p18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1">
    <p:spTree>
      <p:nvGrpSpPr>
        <p:cNvPr id="1" name="Shape 1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4" name="Google Shape;1354;p18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355" name="Google Shape;1355;p18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356" name="Google Shape;1356;p18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357" name="Google Shape;1357;p18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8" name="Google Shape;1358;p18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59" name="Google Shape;1359;p18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360" name="Google Shape;1360;p1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">
    <p:spTree>
      <p:nvGrpSpPr>
        <p:cNvPr id="1" name="Shape 1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2" name="Google Shape;1362;p18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3" name="Google Shape;1363;p18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4" name="Google Shape;1364;p18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5" name="Google Shape;1365;p1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66" name="Google Shape;1366;p1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67" name="Google Shape;1367;p1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68" name="Google Shape;1368;p1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69" name="Google Shape;1369;p1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70" name="Google Shape;1370;p1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71" name="Google Shape;1371;p1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2" name="Google Shape;1372;p1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73" name="Google Shape;1373;p18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4">
    <p:spTree>
      <p:nvGrpSpPr>
        <p:cNvPr id="1" name="Shape 13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75" name="Google Shape;1375;p1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76" name="Google Shape;1376;p1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77" name="Google Shape;1377;p1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78" name="Google Shape;1378;p1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9" name="Google Shape;1379;p1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80" name="Google Shape;1380;p18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1" name="Google Shape;1381;p18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2" name="Google Shape;1382;p1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83" name="Google Shape;1383;p1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84" name="Google Shape;1384;p1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0">
    <p:spTree>
      <p:nvGrpSpPr>
        <p:cNvPr id="1" name="Shape 13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6" name="Google Shape;1386;p18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7" name="Google Shape;1387;p18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388" name="Google Shape;1388;p1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89" name="Google Shape;1389;p1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90" name="Google Shape;1390;p1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91" name="Google Shape;1391;p1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2" name="Google Shape;1392;p1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93" name="Google Shape;1393;p18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4" name="Google Shape;1394;p18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95" name="Google Shape;1395;p1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96" name="Google Shape;1396;p1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0">
    <p:spTree>
      <p:nvGrpSpPr>
        <p:cNvPr id="1" name="Shape 1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98" name="Google Shape;1398;p18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99" name="Google Shape;1399;p1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00" name="Google Shape;1400;p18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01" name="Google Shape;1401;p1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2" name="Google Shape;1402;p1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03" name="Google Shape;1403;p18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4" name="Google Shape;1404;p18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05" name="Google Shape;1405;p18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06" name="Google Shape;1406;p18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07" name="Google Shape;1407;p18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08" name="Google Shape;1408;p1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09" name="Google Shape;1409;p1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10" name="Google Shape;1410;p1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0">
    <p:spTree>
      <p:nvGrpSpPr>
        <p:cNvPr id="1" name="Shape 1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12" name="Google Shape;1412;p18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13" name="Google Shape;1413;p1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14" name="Google Shape;1414;p18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15" name="Google Shape;1415;p1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6" name="Google Shape;1416;p1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17" name="Google Shape;1417;p18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8" name="Google Shape;1418;p18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19" name="Google Shape;1419;p1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20" name="Google Shape;1420;p1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1">
    <p:spTree>
      <p:nvGrpSpPr>
        <p:cNvPr id="1" name="Shape 14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22" name="Google Shape;1422;p18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423" name="Google Shape;1423;p18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4" name="Google Shape;1424;p18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25" name="Google Shape;1425;p18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6" name="Google Shape;1426;p18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27" name="Google Shape;1427;p18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28" name="Google Shape;1428;p1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429" name="Google Shape;1429;p18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25845292"/>
      </p:ext>
    </p:extLst>
  </p:cSld>
  <p:clrMapOvr>
    <a:masterClrMapping/>
  </p:clrMapOvr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">
    <p:spTree>
      <p:nvGrpSpPr>
        <p:cNvPr id="1" name="Shape 1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1" name="Google Shape;1431;p1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32" name="Google Shape;1432;p1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33" name="Google Shape;1433;p1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34" name="Google Shape;1434;p1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35" name="Google Shape;1435;p1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36" name="Google Shape;1436;p1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37" name="Google Shape;1437;p1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8" name="Google Shape;1438;p1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">
    <p:spTree>
      <p:nvGrpSpPr>
        <p:cNvPr id="1" name="Shape 14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0" name="Google Shape;1440;p19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1" name="Google Shape;1441;p19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2" name="Google Shape;1442;p19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43" name="Google Shape;1443;p19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444" name="Google Shape;1444;p19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445" name="Google Shape;1445;p19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6" name="Google Shape;1446;p19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47" name="Google Shape;1447;p1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">
    <p:bg>
      <p:bgPr>
        <a:solidFill>
          <a:schemeClr val="lt2"/>
        </a:solidFill>
        <a:effectLst/>
      </p:bgPr>
    </p:bg>
    <p:spTree>
      <p:nvGrpSpPr>
        <p:cNvPr id="1" name="Shape 14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9" name="Google Shape;1449;p19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50" name="Google Shape;1450;p19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1" name="Google Shape;1451;p19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2" name="Google Shape;1452;p19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53" name="Google Shape;1453;p1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54" name="Google Shape;1454;p19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5" name="Google Shape;1455;p19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2">
    <p:spTree>
      <p:nvGrpSpPr>
        <p:cNvPr id="1" name="Shape 14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7" name="Google Shape;1457;p19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458" name="Google Shape;1458;p19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459" name="Google Shape;1459;p19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460" name="Google Shape;1460;p19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1" name="Google Shape;1461;p19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62" name="Google Shape;1462;p19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463" name="Google Shape;1463;p19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1">
    <p:spTree>
      <p:nvGrpSpPr>
        <p:cNvPr id="1" name="Shape 1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5" name="Google Shape;1465;p19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6" name="Google Shape;1466;p19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7" name="Google Shape;1467;p19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8" name="Google Shape;1468;p1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69" name="Google Shape;1469;p1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70" name="Google Shape;1470;p1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71" name="Google Shape;1471;p1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72" name="Google Shape;1472;p1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73" name="Google Shape;1473;p1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74" name="Google Shape;1474;p1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5" name="Google Shape;1475;p1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76" name="Google Shape;1476;p19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5">
    <p:spTree>
      <p:nvGrpSpPr>
        <p:cNvPr id="1" name="Shape 14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78" name="Google Shape;1478;p19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79" name="Google Shape;1479;p1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80" name="Google Shape;1480;p19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81" name="Google Shape;1481;p1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2" name="Google Shape;1482;p1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83" name="Google Shape;1483;p1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4" name="Google Shape;1484;p19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5" name="Google Shape;1485;p1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86" name="Google Shape;1486;p1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87" name="Google Shape;1487;p1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1">
    <p:spTree>
      <p:nvGrpSpPr>
        <p:cNvPr id="1" name="Shape 14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9" name="Google Shape;1489;p19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0" name="Google Shape;1490;p19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491" name="Google Shape;1491;p1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92" name="Google Shape;1492;p1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93" name="Google Shape;1493;p1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94" name="Google Shape;1494;p1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5" name="Google Shape;1495;p1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96" name="Google Shape;1496;p19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97" name="Google Shape;1497;p19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98" name="Google Shape;1498;p1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99" name="Google Shape;1499;p1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">
    <p:spTree>
      <p:nvGrpSpPr>
        <p:cNvPr id="1" name="Shape 1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01" name="Google Shape;1501;p1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02" name="Google Shape;1502;p1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03" name="Google Shape;1503;p1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04" name="Google Shape;1504;p1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5" name="Google Shape;1505;p1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06" name="Google Shape;1506;p19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7" name="Google Shape;1507;p19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08" name="Google Shape;1508;p19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09" name="Google Shape;1509;p19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10" name="Google Shape;1510;p19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1" name="Google Shape;1511;p1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12" name="Google Shape;1512;p1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13" name="Google Shape;1513;p1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">
    <p:spTree>
      <p:nvGrpSpPr>
        <p:cNvPr id="1" name="Shape 1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15" name="Google Shape;1515;p1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16" name="Google Shape;1516;p1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17" name="Google Shape;1517;p1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18" name="Google Shape;1518;p1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9" name="Google Shape;1519;p1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20" name="Google Shape;1520;p1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1" name="Google Shape;1521;p1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22" name="Google Shape;1522;p1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23" name="Google Shape;1523;p1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">
    <p:spTree>
      <p:nvGrpSpPr>
        <p:cNvPr id="1" name="Shape 15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25" name="Google Shape;1525;p19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526" name="Google Shape;1526;p19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7" name="Google Shape;1527;p19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28" name="Google Shape;1528;p19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29" name="Google Shape;1529;p19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0" name="Google Shape;1530;p19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31" name="Google Shape;1531;p19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532" name="Google Shape;1532;p19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216092"/>
      </p:ext>
    </p:extLst>
  </p:cSld>
  <p:clrMapOvr>
    <a:masterClrMapping/>
  </p:clrMapOvr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">
    <p:spTree>
      <p:nvGrpSpPr>
        <p:cNvPr id="1" name="Shape 15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4" name="Google Shape;1534;p2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35" name="Google Shape;1535;p2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36" name="Google Shape;1536;p2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37" name="Google Shape;1537;p2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38" name="Google Shape;1538;p2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39" name="Google Shape;1539;p2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40" name="Google Shape;1540;p2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1" name="Google Shape;1541;p2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4">
    <p:spTree>
      <p:nvGrpSpPr>
        <p:cNvPr id="1" name="Shape 1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3" name="Google Shape;1543;p20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44" name="Google Shape;1544;p20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45" name="Google Shape;1545;p20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6" name="Google Shape;1546;p2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47" name="Google Shape;1547;p2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48" name="Google Shape;1548;p2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49" name="Google Shape;1549;p2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50" name="Google Shape;1550;p2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51" name="Google Shape;1551;p2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52" name="Google Shape;1552;p2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3" name="Google Shape;1553;p2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54" name="Google Shape;1554;p20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15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" name="Google Shape;1556;p20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57" name="Google Shape;1557;p20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8" name="Google Shape;1558;p20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9" name="Google Shape;1559;p2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60" name="Google Shape;1560;p2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61" name="Google Shape;1561;p2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62" name="Google Shape;1562;p2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63" name="Google Shape;1563;p20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64" name="Google Shape;1564;p2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65" name="Google Shape;1565;p2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6" name="Google Shape;1566;p2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67" name="Google Shape;1567;p20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">
    <p:spTree>
      <p:nvGrpSpPr>
        <p:cNvPr id="1" name="Shape 1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9" name="Google Shape;1569;p20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70" name="Google Shape;1570;p20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1" name="Google Shape;1571;p20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572" name="Google Shape;1572;p20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573" name="Google Shape;1573;p20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574" name="Google Shape;1574;p20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5" name="Google Shape;1575;p20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76" name="Google Shape;1576;p20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5">
    <p:bg>
      <p:bgPr>
        <a:solidFill>
          <a:schemeClr val="lt2"/>
        </a:solidFill>
        <a:effectLst/>
      </p:bgPr>
    </p:bg>
    <p:spTree>
      <p:nvGrpSpPr>
        <p:cNvPr id="1" name="Shape 15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78" name="Google Shape;1578;p20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579" name="Google Shape;1579;p20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0" name="Google Shape;1580;p20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1" name="Google Shape;1581;p20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82" name="Google Shape;1582;p20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83" name="Google Shape;1583;p20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4" name="Google Shape;1584;p20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">
    <p:spTree>
      <p:nvGrpSpPr>
        <p:cNvPr id="1" name="Shape 1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6" name="Google Shape;1586;p20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87" name="Google Shape;1587;p20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88" name="Google Shape;1588;p20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89" name="Google Shape;1589;p20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0" name="Google Shape;1590;p20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91" name="Google Shape;1591;p20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92" name="Google Shape;1592;p20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2">
    <p:spTree>
      <p:nvGrpSpPr>
        <p:cNvPr id="1" name="Shape 1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4" name="Google Shape;1594;p20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95" name="Google Shape;1595;p20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6" name="Google Shape;1596;p20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7" name="Google Shape;1597;p2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98" name="Google Shape;1598;p2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99" name="Google Shape;1599;p2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00" name="Google Shape;1600;p2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01" name="Google Shape;1601;p20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02" name="Google Shape;1602;p2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03" name="Google Shape;1603;p2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4" name="Google Shape;1604;p2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05" name="Google Shape;1605;p20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3">
    <p:spTree>
      <p:nvGrpSpPr>
        <p:cNvPr id="1" name="Shape 16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7" name="Google Shape;1607;p20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08" name="Google Shape;1608;p20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9" name="Google Shape;1609;p20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0" name="Google Shape;1610;p2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11" name="Google Shape;1611;p2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12" name="Google Shape;1612;p2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13" name="Google Shape;1613;p20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14" name="Google Shape;1614;p20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15" name="Google Shape;1615;p2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16" name="Google Shape;1616;p2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7" name="Google Shape;1617;p2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18" name="Google Shape;1618;p20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6">
    <p:spTree>
      <p:nvGrpSpPr>
        <p:cNvPr id="1" name="Shape 1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20" name="Google Shape;1620;p2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21" name="Google Shape;1621;p20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22" name="Google Shape;1622;p2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23" name="Google Shape;1623;p2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4" name="Google Shape;1624;p2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25" name="Google Shape;1625;p20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6" name="Google Shape;1626;p20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7" name="Google Shape;1627;p2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28" name="Google Shape;1628;p2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29" name="Google Shape;1629;p2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">
    <p:spTree>
      <p:nvGrpSpPr>
        <p:cNvPr id="1" name="Shape 1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1" name="Google Shape;1631;p20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2" name="Google Shape;1632;p20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633" name="Google Shape;1633;p20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34" name="Google Shape;1634;p20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35" name="Google Shape;1635;p20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36" name="Google Shape;1636;p2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7" name="Google Shape;1637;p2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38" name="Google Shape;1638;p20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9" name="Google Shape;1639;p20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40" name="Google Shape;1640;p2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41" name="Google Shape;1641;p2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1876091"/>
      </p:ext>
    </p:extLst>
  </p:cSld>
  <p:clrMapOvr>
    <a:masterClrMapping/>
  </p:clrMapOvr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">
    <p:spTree>
      <p:nvGrpSpPr>
        <p:cNvPr id="1" name="Shape 1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43" name="Google Shape;1643;p2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44" name="Google Shape;1644;p21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45" name="Google Shape;1645;p2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46" name="Google Shape;1646;p2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7" name="Google Shape;1647;p2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48" name="Google Shape;1648;p2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9" name="Google Shape;1649;p21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50" name="Google Shape;1650;p21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1" name="Google Shape;1651;p21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52" name="Google Shape;1652;p21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3" name="Google Shape;1653;p2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54" name="Google Shape;1654;p2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55" name="Google Shape;1655;p2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">
    <p:spTree>
      <p:nvGrpSpPr>
        <p:cNvPr id="1" name="Shape 16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57" name="Google Shape;1657;p2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58" name="Google Shape;1658;p21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59" name="Google Shape;1659;p2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60" name="Google Shape;1660;p2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1" name="Google Shape;1661;p2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62" name="Google Shape;1662;p21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3" name="Google Shape;1663;p2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64" name="Google Shape;1664;p2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65" name="Google Shape;1665;p2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">
    <p:spTree>
      <p:nvGrpSpPr>
        <p:cNvPr id="1" name="Shape 1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67" name="Google Shape;1667;p21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668" name="Google Shape;1668;p21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9" name="Google Shape;1669;p21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70" name="Google Shape;1670;p21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71" name="Google Shape;1671;p21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2" name="Google Shape;1672;p21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73" name="Google Shape;1673;p21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674" name="Google Shape;1674;p21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3">
    <p:spTree>
      <p:nvGrpSpPr>
        <p:cNvPr id="1" name="Shape 1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6" name="Google Shape;1676;p2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77" name="Google Shape;1677;p2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78" name="Google Shape;1678;p2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79" name="Google Shape;1679;p2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80" name="Google Shape;1680;p21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81" name="Google Shape;1681;p2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82" name="Google Shape;1682;p2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3" name="Google Shape;1683;p2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5">
    <p:spTree>
      <p:nvGrpSpPr>
        <p:cNvPr id="1" name="Shape 1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5" name="Google Shape;1685;p21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6" name="Google Shape;1686;p21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7" name="Google Shape;1687;p21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688" name="Google Shape;1688;p21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689" name="Google Shape;1689;p21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690" name="Google Shape;1690;p21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1" name="Google Shape;1691;p21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92" name="Google Shape;1692;p2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6">
    <p:bg>
      <p:bgPr>
        <a:solidFill>
          <a:schemeClr val="lt2"/>
        </a:solidFill>
        <a:effectLst/>
      </p:bgPr>
    </p:bg>
    <p:spTree>
      <p:nvGrpSpPr>
        <p:cNvPr id="1" name="Shape 16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94" name="Google Shape;1694;p21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695" name="Google Shape;1695;p21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6" name="Google Shape;1696;p21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7" name="Google Shape;1697;p21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98" name="Google Shape;1698;p2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699" name="Google Shape;1699;p21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0" name="Google Shape;1700;p21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">
    <p:spTree>
      <p:nvGrpSpPr>
        <p:cNvPr id="1" name="Shape 17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2" name="Google Shape;1702;p21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03" name="Google Shape;1703;p21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704" name="Google Shape;1704;p21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705" name="Google Shape;1705;p21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6" name="Google Shape;1706;p21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07" name="Google Shape;1707;p21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708" name="Google Shape;1708;p2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4">
    <p:spTree>
      <p:nvGrpSpPr>
        <p:cNvPr id="1" name="Shape 1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0" name="Google Shape;1710;p21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11" name="Google Shape;1711;p21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2" name="Google Shape;1712;p21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3" name="Google Shape;1713;p2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14" name="Google Shape;1714;p2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15" name="Google Shape;1715;p2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16" name="Google Shape;1716;p2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17" name="Google Shape;1717;p2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18" name="Google Shape;1718;p2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19" name="Google Shape;1719;p2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20" name="Google Shape;1720;p2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21" name="Google Shape;1721;p21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7">
    <p:spTree>
      <p:nvGrpSpPr>
        <p:cNvPr id="1" name="Shape 17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23" name="Google Shape;1723;p2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24" name="Google Shape;1724;p2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25" name="Google Shape;1725;p2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26" name="Google Shape;1726;p2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27" name="Google Shape;1727;p2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28" name="Google Shape;1728;p21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29" name="Google Shape;1729;p21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30" name="Google Shape;1730;p2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31" name="Google Shape;1731;p2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32" name="Google Shape;1732;p2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">
    <p:spTree>
      <p:nvGrpSpPr>
        <p:cNvPr id="1" name="Shape 17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4" name="Google Shape;1734;p21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35" name="Google Shape;1735;p21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736" name="Google Shape;1736;p2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37" name="Google Shape;1737;p2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38" name="Google Shape;1738;p2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39" name="Google Shape;1739;p2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40" name="Google Shape;1740;p2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41" name="Google Shape;1741;p21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2" name="Google Shape;1742;p21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43" name="Google Shape;1743;p2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44" name="Google Shape;1744;p2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815734"/>
      </p:ext>
    </p:extLst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3">
    <p:spTree>
      <p:nvGrpSpPr>
        <p:cNvPr id="1" name="Shape 17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46" name="Google Shape;1746;p2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47" name="Google Shape;1747;p2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48" name="Google Shape;1748;p2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49" name="Google Shape;1749;p2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0" name="Google Shape;1750;p2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51" name="Google Shape;1751;p22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52" name="Google Shape;1752;p22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53" name="Google Shape;1753;p22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4" name="Google Shape;1754;p22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55" name="Google Shape;1755;p22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6" name="Google Shape;1756;p2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57" name="Google Shape;1757;p2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58" name="Google Shape;1758;p2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3">
    <p:spTree>
      <p:nvGrpSpPr>
        <p:cNvPr id="1" name="Shape 17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60" name="Google Shape;1760;p2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61" name="Google Shape;1761;p2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62" name="Google Shape;1762;p2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63" name="Google Shape;1763;p2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4" name="Google Shape;1764;p2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65" name="Google Shape;1765;p2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66" name="Google Shape;1766;p2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67" name="Google Shape;1767;p2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68" name="Google Shape;1768;p2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4">
    <p:spTree>
      <p:nvGrpSpPr>
        <p:cNvPr id="1" name="Shape 17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70" name="Google Shape;1770;p22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771" name="Google Shape;1771;p22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2" name="Google Shape;1772;p22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73" name="Google Shape;1773;p22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74" name="Google Shape;1774;p22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75" name="Google Shape;1775;p22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76" name="Google Shape;1776;p2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777" name="Google Shape;1777;p22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4">
    <p:spTree>
      <p:nvGrpSpPr>
        <p:cNvPr id="1" name="Shape 1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9" name="Google Shape;1779;p2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80" name="Google Shape;1780;p2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81" name="Google Shape;1781;p2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82" name="Google Shape;1782;p2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83" name="Google Shape;1783;p2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84" name="Google Shape;1784;p2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85" name="Google Shape;1785;p2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6" name="Google Shape;1786;p2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5">
    <p:spTree>
      <p:nvGrpSpPr>
        <p:cNvPr id="1" name="Shape 17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8" name="Google Shape;1788;p22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89" name="Google Shape;1789;p22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90" name="Google Shape;1790;p22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1" name="Google Shape;1791;p2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92" name="Google Shape;1792;p2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93" name="Google Shape;1793;p2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94" name="Google Shape;1794;p2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95" name="Google Shape;1795;p2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96" name="Google Shape;1796;p2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97" name="Google Shape;1797;p2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98" name="Google Shape;1798;p2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99" name="Google Shape;1799;p22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 2">
    <p:bg>
      <p:bgPr>
        <a:solidFill>
          <a:schemeClr val="lt1"/>
        </a:solidFill>
        <a:effectLst/>
      </p:bgPr>
    </p:bg>
    <p:spTree>
      <p:nvGrpSpPr>
        <p:cNvPr id="1" name="Shape 18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1" name="Google Shape;1801;p225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02" name="Google Shape;1802;p225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803" name="Google Shape;1803;p2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804" name="Google Shape;1804;p225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805" name="Google Shape;1805;p22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806" name="Google Shape;1806;p225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07" name="Google Shape;1807;p225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08" name="Google Shape;1808;p225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9" name="Google Shape;1809;p2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10" name="Google Shape;1810;p22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11" name="Google Shape;1811;p2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4">
    <p:spTree>
      <p:nvGrpSpPr>
        <p:cNvPr id="1" name="Shape 18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3" name="Google Shape;1813;p22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14" name="Google Shape;1814;p22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15" name="Google Shape;1815;p22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6" name="Google Shape;1816;p2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17" name="Google Shape;1817;p2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18" name="Google Shape;1818;p2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19" name="Google Shape;1819;p2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20" name="Google Shape;1820;p2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21" name="Google Shape;1821;p2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22" name="Google Shape;1822;p2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23" name="Google Shape;1823;p2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24" name="Google Shape;1824;p22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Quotation">
  <p:cSld name="1_Quotation">
    <p:spTree>
      <p:nvGrpSpPr>
        <p:cNvPr id="1" name="Shape 1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6" name="Google Shape;1826;p22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27" name="Google Shape;1827;p22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8" name="Google Shape;1828;p22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9" name="Google Shape;1829;p2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30" name="Google Shape;1830;p2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31" name="Google Shape;1831;p2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32" name="Google Shape;1832;p2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33" name="Google Shape;1833;p2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34" name="Google Shape;1834;p2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35" name="Google Shape;1835;p2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36" name="Google Shape;1836;p2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37" name="Google Shape;1837;p22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8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9" name="Google Shape;1839;p228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0" name="Google Shape;1840;p228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41" name="Google Shape;1841;p22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42" name="Google Shape;1842;p2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3" name="Google Shape;1843;p2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1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5" name="Google Shape;1845;p22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6" name="Google Shape;1846;p22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7" name="Google Shape;1847;p22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48" name="Google Shape;1848;p2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9" name="Google Shape;1849;p2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50" name="Google Shape;1850;p22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1" name="Google Shape;1851;p22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2" name="Google Shape;1852;p22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53" name="Google Shape;1853;p2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13743"/>
      </p:ext>
    </p:extLst>
  </p:cSld>
  <p:clrMapOvr>
    <a:masterClrMapping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2">
    <p:spTree>
      <p:nvGrpSpPr>
        <p:cNvPr id="1" name="Shape 18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5" name="Google Shape;1855;p23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6" name="Google Shape;1856;p23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7" name="Google Shape;1857;p23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58" name="Google Shape;1858;p2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9" name="Google Shape;1859;p2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60" name="Google Shape;1860;p23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1" name="Google Shape;1861;p23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2" name="Google Shape;1862;p23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63" name="Google Shape;1863;p2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18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5" name="Google Shape;1865;p23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66" name="Google Shape;1866;p23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7" name="Google Shape;1867;p23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8" name="Google Shape;1868;p23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69" name="Google Shape;1869;p23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18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1" name="Google Shape;1871;p23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872" name="Google Shape;1872;p23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873" name="Google Shape;1873;p23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74" name="Google Shape;1874;p23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75" name="Google Shape;1875;p23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1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7" name="Google Shape;1877;p23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78" name="Google Shape;1878;p23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79" name="Google Shape;1879;p23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0" name="Google Shape;1880;p23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1" name="Google Shape;1881;p23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882" name="Google Shape;1882;p23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3">
    <p:spTree>
      <p:nvGrpSpPr>
        <p:cNvPr id="1" name="Shape 1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" name="Google Shape;1884;p23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5" name="Google Shape;1885;p23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86" name="Google Shape;1886;p23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87" name="Google Shape;1887;p2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88" name="Google Shape;1888;p2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89" name="Google Shape;1889;p23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90" name="Google Shape;1890;p23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91" name="Google Shape;1891;p23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92" name="Google Shape;1892;p2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2">
    <p:spTree>
      <p:nvGrpSpPr>
        <p:cNvPr id="1" name="Shape 18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" name="Google Shape;1894;p23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95" name="Google Shape;1895;p23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96" name="Google Shape;1896;p23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97" name="Google Shape;1897;p23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98" name="Google Shape;1898;p2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2">
    <p:spTree>
      <p:nvGrpSpPr>
        <p:cNvPr id="1" name="Shape 18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0" name="Google Shape;1900;p23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01" name="Google Shape;1901;p2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902" name="Google Shape;1902;p23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03" name="Google Shape;1903;p23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4" name="Google Shape;1904;p23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2">
    <p:spTree>
      <p:nvGrpSpPr>
        <p:cNvPr id="1" name="Shape 19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6" name="Google Shape;1906;p23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07" name="Google Shape;1907;p23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08" name="Google Shape;1908;p23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09" name="Google Shape;1909;p23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0" name="Google Shape;1910;p23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11" name="Google Shape;1911;p2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4">
    <p:spTree>
      <p:nvGrpSpPr>
        <p:cNvPr id="1" name="Shape 19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3" name="Google Shape;1913;p23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4" name="Google Shape;1914;p23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15" name="Google Shape;1915;p23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16" name="Google Shape;1916;p2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17" name="Google Shape;1917;p2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918" name="Google Shape;1918;p23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19" name="Google Shape;1919;p23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20" name="Google Shape;1920;p23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21" name="Google Shape;1921;p2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">
    <p:spTree>
      <p:nvGrpSpPr>
        <p:cNvPr id="1" name="Shape 19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3" name="Google Shape;1923;p23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4" name="Google Shape;1924;p23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5" name="Google Shape;1925;p23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26" name="Google Shape;1926;p2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7" name="Google Shape;1927;p2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928" name="Google Shape;1928;p23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29" name="Google Shape;1929;p23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30" name="Google Shape;1930;p23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31" name="Google Shape;1931;p2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14809"/>
      </p:ext>
    </p:extLst>
  </p:cSld>
  <p:clrMapOvr>
    <a:masterClrMapping/>
  </p:clrMapOvr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">
    <p:spTree>
      <p:nvGrpSpPr>
        <p:cNvPr id="1" name="Shape 19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3" name="Google Shape;1933;p24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4" name="Google Shape;1934;p24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35" name="Google Shape;1935;p24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36" name="Google Shape;1936;p2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37" name="Google Shape;1937;p2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938" name="Google Shape;1938;p24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39" name="Google Shape;1939;p24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0" name="Google Shape;1940;p24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41" name="Google Shape;1941;p2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3">
    <p:spTree>
      <p:nvGrpSpPr>
        <p:cNvPr id="1" name="Shape 19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3" name="Google Shape;1943;p24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44" name="Google Shape;1944;p24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5" name="Google Shape;1945;p24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6" name="Google Shape;1946;p24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47" name="Google Shape;1947;p2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3">
    <p:spTree>
      <p:nvGrpSpPr>
        <p:cNvPr id="1" name="Shape 1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9" name="Google Shape;1949;p24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50" name="Google Shape;1950;p2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951" name="Google Shape;1951;p24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2" name="Google Shape;1952;p24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3" name="Google Shape;1953;p24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3">
    <p:spTree>
      <p:nvGrpSpPr>
        <p:cNvPr id="1" name="Shape 19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5" name="Google Shape;1955;p24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6" name="Google Shape;1956;p24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7" name="Google Shape;1957;p24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8" name="Google Shape;1958;p24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9" name="Google Shape;1959;p24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60" name="Google Shape;1960;p2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">
    <p:spTree>
      <p:nvGrpSpPr>
        <p:cNvPr id="1" name="Shape 19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2" name="Google Shape;1962;p24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63" name="Google Shape;1963;p24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4" name="Google Shape;1964;p24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65" name="Google Shape;1965;p2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6" name="Google Shape;1966;p2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967" name="Google Shape;1967;p24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68" name="Google Shape;1968;p24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69" name="Google Shape;1969;p24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70" name="Google Shape;1970;p2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">
    <p:spTree>
      <p:nvGrpSpPr>
        <p:cNvPr id="1" name="Shape 19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2" name="Google Shape;1972;p24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73" name="Google Shape;1973;p24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74" name="Google Shape;1974;p24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75" name="Google Shape;1975;p24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76" name="Google Shape;1976;p2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">
    <p:spTree>
      <p:nvGrpSpPr>
        <p:cNvPr id="1" name="Shape 19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8" name="Google Shape;1978;p24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79" name="Google Shape;1979;p2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980" name="Google Shape;1980;p24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81" name="Google Shape;1981;p24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82" name="Google Shape;1982;p24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">
    <p:spTree>
      <p:nvGrpSpPr>
        <p:cNvPr id="1" name="Shape 1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4" name="Google Shape;1984;p24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85" name="Google Shape;1985;p24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86" name="Google Shape;1986;p24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87" name="Google Shape;1987;p24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88" name="Google Shape;1988;p24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89" name="Google Shape;1989;p24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">
    <p:spTree>
      <p:nvGrpSpPr>
        <p:cNvPr id="1" name="Shape 19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1" name="Google Shape;1991;p24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92" name="Google Shape;1992;p24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93" name="Google Shape;1993;p24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94" name="Google Shape;1994;p24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95" name="Google Shape;1995;p24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">
    <p:spTree>
      <p:nvGrpSpPr>
        <p:cNvPr id="1" name="Shape 1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7" name="Google Shape;1997;p24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98" name="Google Shape;1998;p24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999" name="Google Shape;1999;p24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00" name="Google Shape;2000;p24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01" name="Google Shape;2001;p24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8538390"/>
      </p:ext>
    </p:extLst>
  </p:cSld>
  <p:clrMapOvr>
    <a:masterClrMapping/>
  </p:clrMapOvr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">
    <p:spTree>
      <p:nvGrpSpPr>
        <p:cNvPr id="1" name="Shape 2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3" name="Google Shape;2003;p25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04" name="Google Shape;2004;p25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05" name="Google Shape;2005;p25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06" name="Google Shape;2006;p25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07" name="Google Shape;2007;p25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008" name="Google Shape;2008;p2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8">
    <p:spTree>
      <p:nvGrpSpPr>
        <p:cNvPr id="1" name="Shape 20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0" name="Google Shape;2010;p25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11" name="Google Shape;2011;p25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12" name="Google Shape;2012;p25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13" name="Google Shape;2013;p2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14" name="Google Shape;2014;p2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15" name="Google Shape;2015;p251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16" name="Google Shape;2016;p251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17" name="Google Shape;2017;p25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018" name="Google Shape;2018;p25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">
    <p:spTree>
      <p:nvGrpSpPr>
        <p:cNvPr id="1" name="Shape 20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0" name="Google Shape;2020;p25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21" name="Google Shape;2021;p25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22" name="Google Shape;2022;p25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23" name="Google Shape;2023;p2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24" name="Google Shape;2024;p2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25" name="Google Shape;2025;p25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26" name="Google Shape;2026;p25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27" name="Google Shape;2027;p25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028" name="Google Shape;2028;p2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6">
    <p:spTree>
      <p:nvGrpSpPr>
        <p:cNvPr id="1" name="Shape 20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0" name="Google Shape;2030;p253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31" name="Google Shape;2031;p25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32" name="Google Shape;2032;p25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33" name="Google Shape;2033;p253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034" name="Google Shape;2034;p2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6">
    <p:spTree>
      <p:nvGrpSpPr>
        <p:cNvPr id="1" name="Shape 2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6" name="Google Shape;2036;p25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037" name="Google Shape;2037;p2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2038" name="Google Shape;2038;p25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39" name="Google Shape;2039;p254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40" name="Google Shape;2040;p254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6">
    <p:spTree>
      <p:nvGrpSpPr>
        <p:cNvPr id="1" name="Shape 2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2" name="Google Shape;2042;p25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43" name="Google Shape;2043;p25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44" name="Google Shape;2044;p255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45" name="Google Shape;2045;p255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46" name="Google Shape;2046;p255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047" name="Google Shape;2047;p25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10">
    <p:spTree>
      <p:nvGrpSpPr>
        <p:cNvPr id="1" name="Shape 20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Google Shape;2049;p256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50" name="Google Shape;2050;p256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51" name="Google Shape;2051;p25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52" name="Google Shape;2052;p2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53" name="Google Shape;2053;p2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54" name="Google Shape;2054;p256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55" name="Google Shape;2055;p256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56" name="Google Shape;2056;p256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057" name="Google Shape;2057;p25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7">
    <p:spTree>
      <p:nvGrpSpPr>
        <p:cNvPr id="1" name="Shape 2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9" name="Google Shape;2059;p257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60" name="Google Shape;2060;p25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61" name="Google Shape;2061;p25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62" name="Google Shape;2062;p257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063" name="Google Shape;2063;p25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7">
    <p:spTree>
      <p:nvGrpSpPr>
        <p:cNvPr id="1" name="Shape 20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5" name="Google Shape;2065;p25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066" name="Google Shape;2066;p2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2067" name="Google Shape;2067;p25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68" name="Google Shape;2068;p258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69" name="Google Shape;2069;p258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7">
    <p:spTree>
      <p:nvGrpSpPr>
        <p:cNvPr id="1" name="Shape 20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1" name="Google Shape;2071;p25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72" name="Google Shape;2072;p25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73" name="Google Shape;2073;p259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74" name="Google Shape;2074;p259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75" name="Google Shape;2075;p259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076" name="Google Shape;2076;p2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68810016"/>
      </p:ext>
    </p:extLst>
  </p:cSld>
  <p:clrMapOvr>
    <a:masterClrMapping/>
  </p:clrMapOvr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6">
    <p:spTree>
      <p:nvGrpSpPr>
        <p:cNvPr id="1" name="Shape 20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8" name="Google Shape;2078;p26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79" name="Google Shape;2079;p26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80" name="Google Shape;2080;p26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081" name="Google Shape;2081;p26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082" name="Google Shape;2082;p26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083" name="Google Shape;2083;p2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4" name="Google Shape;2084;p26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085" name="Google Shape;2085;p2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7">
    <p:bg>
      <p:bgPr>
        <a:solidFill>
          <a:schemeClr val="lt2"/>
        </a:solidFill>
        <a:effectLst/>
      </p:bgPr>
    </p:bg>
    <p:spTree>
      <p:nvGrpSpPr>
        <p:cNvPr id="1" name="Shape 20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87" name="Google Shape;2087;p26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088" name="Google Shape;2088;p26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9" name="Google Shape;2089;p26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0" name="Google Shape;2090;p26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091" name="Google Shape;2091;p2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092" name="Google Shape;2092;p26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93" name="Google Shape;2093;p26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5">
    <p:spTree>
      <p:nvGrpSpPr>
        <p:cNvPr id="1" name="Shape 20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5" name="Google Shape;2095;p26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096" name="Google Shape;2096;p26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097" name="Google Shape;2097;p26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098" name="Google Shape;2098;p26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9" name="Google Shape;2099;p26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00" name="Google Shape;2100;p26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101" name="Google Shape;2101;p2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5">
    <p:spTree>
      <p:nvGrpSpPr>
        <p:cNvPr id="1" name="Shape 2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3" name="Google Shape;2103;p26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04" name="Google Shape;2104;p26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05" name="Google Shape;2105;p2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06" name="Google Shape;2106;p2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07" name="Google Shape;2107;p2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08" name="Google Shape;2108;p2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109" name="Google Shape;2109;p2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10" name="Google Shape;2110;p2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11" name="Google Shape;2111;p2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12" name="Google Shape;2112;p2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3" name="Google Shape;2113;p2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114" name="Google Shape;2114;p26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4">
    <p:spTree>
      <p:nvGrpSpPr>
        <p:cNvPr id="1" name="Shape 2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6" name="Google Shape;2116;p26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17" name="Google Shape;2117;p26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118" name="Google Shape;2118;p2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19" name="Google Shape;2119;p2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20" name="Google Shape;2120;p2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21" name="Google Shape;2121;p2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2" name="Google Shape;2122;p2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23" name="Google Shape;2123;p26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24" name="Google Shape;2124;p26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25" name="Google Shape;2125;p2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26" name="Google Shape;2126;p2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4">
    <p:spTree>
      <p:nvGrpSpPr>
        <p:cNvPr id="1" name="Shape 2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28" name="Google Shape;2128;p2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29" name="Google Shape;2129;p2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30" name="Google Shape;2130;p2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31" name="Google Shape;2131;p2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2" name="Google Shape;2132;p2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33" name="Google Shape;2133;p2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34" name="Google Shape;2134;p26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135" name="Google Shape;2135;p26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36" name="Google Shape;2136;p26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137" name="Google Shape;2137;p26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38" name="Google Shape;2138;p2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39" name="Google Shape;2139;p2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40" name="Google Shape;2140;p2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4">
    <p:spTree>
      <p:nvGrpSpPr>
        <p:cNvPr id="1" name="Shape 2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42" name="Google Shape;2142;p2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43" name="Google Shape;2143;p2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44" name="Google Shape;2144;p2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45" name="Google Shape;2145;p2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6" name="Google Shape;2146;p2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47" name="Google Shape;2147;p2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48" name="Google Shape;2148;p2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49" name="Google Shape;2149;p2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50" name="Google Shape;2150;p2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5">
    <p:spTree>
      <p:nvGrpSpPr>
        <p:cNvPr id="1" name="Shape 2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52" name="Google Shape;2152;p26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153" name="Google Shape;2153;p26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54" name="Google Shape;2154;p26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55" name="Google Shape;2155;p26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56" name="Google Shape;2156;p26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57" name="Google Shape;2157;p26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158" name="Google Shape;2158;p26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159" name="Google Shape;2159;p26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5">
    <p:spTree>
      <p:nvGrpSpPr>
        <p:cNvPr id="1" name="Shape 2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1" name="Google Shape;2161;p2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62" name="Google Shape;2162;p2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63" name="Google Shape;2163;p2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164" name="Google Shape;2164;p2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65" name="Google Shape;2165;p2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66" name="Google Shape;2166;p2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67" name="Google Shape;2167;p2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8" name="Google Shape;2168;p2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7">
    <p:spTree>
      <p:nvGrpSpPr>
        <p:cNvPr id="1" name="Shape 2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0" name="Google Shape;2170;p26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71" name="Google Shape;2171;p26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72" name="Google Shape;2172;p26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173" name="Google Shape;2173;p26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174" name="Google Shape;2174;p26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175" name="Google Shape;2175;p26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76" name="Google Shape;2176;p26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177" name="Google Shape;2177;p2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202018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47740735"/>
      </p:ext>
    </p:extLst>
  </p:cSld>
  <p:clrMapOvr>
    <a:masterClrMapping/>
  </p:clrMapOvr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8">
    <p:bg>
      <p:bgPr>
        <a:solidFill>
          <a:schemeClr val="lt2"/>
        </a:solidFill>
        <a:effectLst/>
      </p:bgPr>
    </p:bg>
    <p:spTree>
      <p:nvGrpSpPr>
        <p:cNvPr id="1" name="Shape 2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79" name="Google Shape;2179;p27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180" name="Google Shape;2180;p27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81" name="Google Shape;2181;p27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82" name="Google Shape;2182;p27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183" name="Google Shape;2183;p2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184" name="Google Shape;2184;p27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85" name="Google Shape;2185;p27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6">
    <p:spTree>
      <p:nvGrpSpPr>
        <p:cNvPr id="1" name="Shape 2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7" name="Google Shape;2187;p27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188" name="Google Shape;2188;p27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189" name="Google Shape;2189;p27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190" name="Google Shape;2190;p27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91" name="Google Shape;2191;p27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92" name="Google Shape;2192;p27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193" name="Google Shape;2193;p2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6">
    <p:spTree>
      <p:nvGrpSpPr>
        <p:cNvPr id="1" name="Shape 2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5" name="Google Shape;2195;p27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96" name="Google Shape;2196;p27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97" name="Google Shape;2197;p27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98" name="Google Shape;2198;p2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99" name="Google Shape;2199;p2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00" name="Google Shape;2200;p2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201" name="Google Shape;2201;p2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02" name="Google Shape;2202;p2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03" name="Google Shape;2203;p2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04" name="Google Shape;2204;p2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5" name="Google Shape;2205;p2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206" name="Google Shape;2206;p27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8">
    <p:spTree>
      <p:nvGrpSpPr>
        <p:cNvPr id="1" name="Shape 2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08" name="Google Shape;2208;p2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09" name="Google Shape;2209;p2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10" name="Google Shape;2210;p2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11" name="Google Shape;2211;p2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12" name="Google Shape;2212;p2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13" name="Google Shape;2213;p27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14" name="Google Shape;2214;p27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15" name="Google Shape;2215;p2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16" name="Google Shape;2216;p2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17" name="Google Shape;2217;p2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5">
    <p:spTree>
      <p:nvGrpSpPr>
        <p:cNvPr id="1" name="Shape 2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9" name="Google Shape;2219;p27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20" name="Google Shape;2220;p27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221" name="Google Shape;2221;p2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22" name="Google Shape;2222;p2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23" name="Google Shape;2223;p2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24" name="Google Shape;2224;p2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25" name="Google Shape;2225;p2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26" name="Google Shape;2226;p27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27" name="Google Shape;2227;p27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28" name="Google Shape;2228;p2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29" name="Google Shape;2229;p2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5">
    <p:spTree>
      <p:nvGrpSpPr>
        <p:cNvPr id="1" name="Shape 2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31" name="Google Shape;2231;p2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32" name="Google Shape;2232;p2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33" name="Google Shape;2233;p2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34" name="Google Shape;2234;p2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5" name="Google Shape;2235;p2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36" name="Google Shape;2236;p27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37" name="Google Shape;2237;p27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238" name="Google Shape;2238;p27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39" name="Google Shape;2239;p27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240" name="Google Shape;2240;p27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41" name="Google Shape;2241;p2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42" name="Google Shape;2242;p2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43" name="Google Shape;2243;p2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5">
    <p:spTree>
      <p:nvGrpSpPr>
        <p:cNvPr id="1" name="Shape 2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45" name="Google Shape;2245;p2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46" name="Google Shape;2246;p2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47" name="Google Shape;2247;p2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48" name="Google Shape;2248;p2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9" name="Google Shape;2249;p2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50" name="Google Shape;2250;p27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51" name="Google Shape;2251;p2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52" name="Google Shape;2252;p2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53" name="Google Shape;2253;p2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6">
    <p:spTree>
      <p:nvGrpSpPr>
        <p:cNvPr id="1" name="Shape 2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55" name="Google Shape;2255;p27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256" name="Google Shape;2256;p27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57" name="Google Shape;2257;p27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58" name="Google Shape;2258;p27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59" name="Google Shape;2259;p27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60" name="Google Shape;2260;p27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261" name="Google Shape;2261;p27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262" name="Google Shape;2262;p27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6">
    <p:spTree>
      <p:nvGrpSpPr>
        <p:cNvPr id="1" name="Shape 22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4" name="Google Shape;2264;p2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65" name="Google Shape;2265;p2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66" name="Google Shape;2266;p2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267" name="Google Shape;2267;p2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68" name="Google Shape;2268;p2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69" name="Google Shape;2269;p2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70" name="Google Shape;2270;p2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1" name="Google Shape;2271;p2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spTree>
      <p:nvGrpSpPr>
        <p:cNvPr id="1" name="Shape 2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3" name="Google Shape;2273;p279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274" name="Google Shape;2274;p27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75" name="Google Shape;2275;p279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2276" name="Google Shape;2276;p279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277" name="Google Shape;2277;p279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2278" name="Google Shape;2278;p279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79" name="Google Shape;2279;p279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80" name="Google Shape;2280;p279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81" name="Google Shape;2281;p279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95849402"/>
      </p:ext>
    </p:extLst>
  </p:cSld>
  <p:clrMapOvr>
    <a:masterClrMapping/>
  </p:clrMapOvr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2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3" name="Google Shape;2283;p280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84" name="Google Shape;2284;p280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85" name="Google Shape;2285;p280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86" name="Google Shape;2286;p280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87" name="Google Shape;2287;p2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288" name="Google Shape;2288;p280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22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90" name="Google Shape;2290;p2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91" name="Google Shape;2291;p2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92" name="Google Shape;2292;p2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93" name="Google Shape;2293;p2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4" name="Google Shape;2294;p2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95" name="Google Shape;2295;p2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96" name="Google Shape;2296;p2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97" name="Google Shape;2297;p2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98" name="Google Shape;2298;p2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99" name="Google Shape;2299;p2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23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1" name="Google Shape;2301;p28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302" name="Google Shape;2302;p28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303" name="Google Shape;2303;p28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304" name="Google Shape;2304;p28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5" name="Google Shape;2305;p28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306" name="Google Shape;2306;p28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307" name="Google Shape;2307;p2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>
  <p:cSld name="2_Title Slide">
    <p:spTree>
      <p:nvGrpSpPr>
        <p:cNvPr id="1" name="Shape 2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09" name="Google Shape;2309;p2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2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10" name="Google Shape;2310;p28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2311" name="Google Shape;2311;p283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12" name="Google Shape;2312;p283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and Content">
  <p:cSld name="2_Title and Content 2">
    <p:spTree>
      <p:nvGrpSpPr>
        <p:cNvPr id="1" name="Shape 23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14" name="Google Shape;2314;p28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19" y="762"/>
            <a:ext cx="12189292" cy="6856476"/>
          </a:xfrm>
          <a:prstGeom prst="rect">
            <a:avLst/>
          </a:prstGeom>
          <a:noFill/>
          <a:ln>
            <a:noFill/>
          </a:ln>
        </p:spPr>
      </p:pic>
      <p:sp>
        <p:nvSpPr>
          <p:cNvPr id="2315" name="Google Shape;2315;p28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16" name="Google Shape;2316;p2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1pPr>
            <a:lvl2pPr marL="0" lvl="1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2pPr>
            <a:lvl3pPr marL="0" lvl="2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3pPr>
            <a:lvl4pPr marL="0" lvl="3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4pPr>
            <a:lvl5pPr marL="0" lvl="4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5pPr>
            <a:lvl6pPr marL="0" lvl="5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6pPr>
            <a:lvl7pPr marL="0" lvl="6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7pPr>
            <a:lvl8pPr marL="0" lvl="7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8pPr>
            <a:lvl9pPr marL="0" lvl="8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17" name="Google Shape;2317;p284"/>
          <p:cNvSpPr txBox="1">
            <a:spLocks noGrp="1"/>
          </p:cNvSpPr>
          <p:nvPr>
            <p:ph type="body" idx="1"/>
          </p:nvPr>
        </p:nvSpPr>
        <p:spPr>
          <a:xfrm>
            <a:off x="838200" y="1825629"/>
            <a:ext cx="10515600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Left">
  <p:cSld name="Image Left">
    <p:spTree>
      <p:nvGrpSpPr>
        <p:cNvPr id="1" name="Shape 2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19" name="Google Shape;2319;p2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8"/>
            <a:ext cx="12188952" cy="6856284"/>
          </a:xfrm>
          <a:prstGeom prst="rect">
            <a:avLst/>
          </a:prstGeom>
          <a:noFill/>
          <a:ln>
            <a:noFill/>
          </a:ln>
        </p:spPr>
      </p:pic>
      <p:sp>
        <p:nvSpPr>
          <p:cNvPr id="2320" name="Google Shape;2320;p285"/>
          <p:cNvSpPr txBox="1">
            <a:spLocks noGrp="1"/>
          </p:cNvSpPr>
          <p:nvPr>
            <p:ph type="title"/>
          </p:nvPr>
        </p:nvSpPr>
        <p:spPr>
          <a:xfrm>
            <a:off x="6905173" y="365129"/>
            <a:ext cx="4927259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21" name="Google Shape;2321;p2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1pPr>
            <a:lvl2pPr marL="0" lvl="1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2pPr>
            <a:lvl3pPr marL="0" lvl="2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3pPr>
            <a:lvl4pPr marL="0" lvl="3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4pPr>
            <a:lvl5pPr marL="0" lvl="4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5pPr>
            <a:lvl6pPr marL="0" lvl="5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6pPr>
            <a:lvl7pPr marL="0" lvl="6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7pPr>
            <a:lvl8pPr marL="0" lvl="7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8pPr>
            <a:lvl9pPr marL="0" lvl="8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22" name="Google Shape;2322;p285"/>
          <p:cNvSpPr txBox="1">
            <a:spLocks noGrp="1"/>
          </p:cNvSpPr>
          <p:nvPr>
            <p:ph type="body" idx="1"/>
          </p:nvPr>
        </p:nvSpPr>
        <p:spPr>
          <a:xfrm>
            <a:off x="6905173" y="1825629"/>
            <a:ext cx="4927259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reaker-4">
  <p:cSld name="Breaker-4">
    <p:spTree>
      <p:nvGrpSpPr>
        <p:cNvPr id="1" name="Shape 2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" name="Google Shape;2324;p28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96"/>
            <a:ext cx="12188952" cy="6857808"/>
          </a:xfrm>
          <a:prstGeom prst="rect">
            <a:avLst/>
          </a:prstGeom>
          <a:noFill/>
          <a:ln>
            <a:noFill/>
          </a:ln>
        </p:spPr>
      </p:pic>
      <p:pic>
        <p:nvPicPr>
          <p:cNvPr id="2325" name="Google Shape;2325;p28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2326" name="Google Shape;2326;p286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27" name="Google Shape;2327;p286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">
    <p:spTree>
      <p:nvGrpSpPr>
        <p:cNvPr id="1" name="Shape 23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9" name="Google Shape;2329;p2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30" name="Google Shape;2330;p28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31" name="Google Shape;2331;p2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32" name="Google Shape;2332;p28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 Graphic Right">
  <p:cSld name="Blue Graphic Right">
    <p:spTree>
      <p:nvGrpSpPr>
        <p:cNvPr id="1" name="Shape 2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34" name="Google Shape;2334;p2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35" name="Google Shape;2335;p28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36" name="Google Shape;2336;p28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6085114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37" name="Google Shape;2337;p288"/>
          <p:cNvSpPr txBox="1">
            <a:spLocks noGrp="1"/>
          </p:cNvSpPr>
          <p:nvPr>
            <p:ph type="sldNum" idx="12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losing Slide">
  <p:cSld name="3-Closing Slide">
    <p:spTree>
      <p:nvGrpSpPr>
        <p:cNvPr id="1" name="Shape 2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39" name="Google Shape;2339;p2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340" name="Google Shape;2340;p289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85224" y="2949956"/>
            <a:ext cx="1821552" cy="9580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217939"/>
      </p:ext>
    </p:extLst>
  </p:cSld>
  <p:clrMapOvr>
    <a:masterClrMapping/>
  </p:clrMapOvr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 3">
    <p:spTree>
      <p:nvGrpSpPr>
        <p:cNvPr id="1" name="Shape 2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42" name="Google Shape;2342;p2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43" name="Google Shape;2343;p2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344" name="Google Shape;2344;p2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345" name="Google Shape;2345;p2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6" name="Google Shape;2346;p2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347" name="Google Shape;2347;p29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48" name="Google Shape;2348;p29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49" name="Google Shape;2349;p2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50" name="Google Shape;2350;p2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51" name="Google Shape;2351;p2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 2">
    <p:spTree>
      <p:nvGrpSpPr>
        <p:cNvPr id="1" name="Shape 23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3" name="Google Shape;2353;p29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354" name="Google Shape;2354;p29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355" name="Google Shape;2355;p29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356" name="Google Shape;2356;p29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57" name="Google Shape;2357;p29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358" name="Google Shape;2358;p29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359" name="Google Shape;2359;p2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>
  <p:cSld name="2_Title Slide 2">
    <p:spTree>
      <p:nvGrpSpPr>
        <p:cNvPr id="1" name="Shape 2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61" name="Google Shape;2361;p29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2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62" name="Google Shape;2362;p29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2363" name="Google Shape;2363;p292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64" name="Google Shape;2364;p292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Left">
  <p:cSld name="Image Left 2">
    <p:spTree>
      <p:nvGrpSpPr>
        <p:cNvPr id="1" name="Shape 23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66" name="Google Shape;2366;p29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8"/>
            <a:ext cx="12188952" cy="6856284"/>
          </a:xfrm>
          <a:prstGeom prst="rect">
            <a:avLst/>
          </a:prstGeom>
          <a:noFill/>
          <a:ln>
            <a:noFill/>
          </a:ln>
        </p:spPr>
      </p:pic>
      <p:sp>
        <p:nvSpPr>
          <p:cNvPr id="2367" name="Google Shape;2367;p293"/>
          <p:cNvSpPr txBox="1">
            <a:spLocks noGrp="1"/>
          </p:cNvSpPr>
          <p:nvPr>
            <p:ph type="title"/>
          </p:nvPr>
        </p:nvSpPr>
        <p:spPr>
          <a:xfrm>
            <a:off x="6905173" y="365129"/>
            <a:ext cx="4927259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68" name="Google Shape;2368;p2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1pPr>
            <a:lvl2pPr marL="0" lvl="1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2pPr>
            <a:lvl3pPr marL="0" lvl="2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3pPr>
            <a:lvl4pPr marL="0" lvl="3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4pPr>
            <a:lvl5pPr marL="0" lvl="4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5pPr>
            <a:lvl6pPr marL="0" lvl="5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6pPr>
            <a:lvl7pPr marL="0" lvl="6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7pPr>
            <a:lvl8pPr marL="0" lvl="7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8pPr>
            <a:lvl9pPr marL="0" lvl="8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69" name="Google Shape;2369;p293"/>
          <p:cNvSpPr txBox="1">
            <a:spLocks noGrp="1"/>
          </p:cNvSpPr>
          <p:nvPr>
            <p:ph type="body" idx="1"/>
          </p:nvPr>
        </p:nvSpPr>
        <p:spPr>
          <a:xfrm>
            <a:off x="6905173" y="1825629"/>
            <a:ext cx="4927259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reaker-4">
  <p:cSld name="Breaker-4 2">
    <p:spTree>
      <p:nvGrpSpPr>
        <p:cNvPr id="1" name="Shape 2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71" name="Google Shape;2371;p29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96"/>
            <a:ext cx="12188952" cy="6857808"/>
          </a:xfrm>
          <a:prstGeom prst="rect">
            <a:avLst/>
          </a:prstGeom>
          <a:noFill/>
          <a:ln>
            <a:noFill/>
          </a:ln>
        </p:spPr>
      </p:pic>
      <p:pic>
        <p:nvPicPr>
          <p:cNvPr id="2372" name="Google Shape;2372;p29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2373" name="Google Shape;2373;p294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74" name="Google Shape;2374;p294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 2">
    <p:spTree>
      <p:nvGrpSpPr>
        <p:cNvPr id="1" name="Shape 2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76" name="Google Shape;2376;p29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77" name="Google Shape;2377;p2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78" name="Google Shape;2378;p2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79" name="Google Shape;2379;p29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 Graphic Right">
  <p:cSld name="Blue Graphic Right 2">
    <p:spTree>
      <p:nvGrpSpPr>
        <p:cNvPr id="1" name="Shape 2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81" name="Google Shape;2381;p29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82" name="Google Shape;2382;p29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83" name="Google Shape;2383;p29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6085114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84" name="Google Shape;2384;p296"/>
          <p:cNvSpPr txBox="1">
            <a:spLocks noGrp="1"/>
          </p:cNvSpPr>
          <p:nvPr>
            <p:ph type="sldNum" idx="12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losing Slide">
  <p:cSld name="3-Closing Slide 2">
    <p:spTree>
      <p:nvGrpSpPr>
        <p:cNvPr id="1" name="Shape 23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86" name="Google Shape;2386;p29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387" name="Google Shape;2387;p297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85224" y="2949956"/>
            <a:ext cx="1821552" cy="9580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11">
    <p:spTree>
      <p:nvGrpSpPr>
        <p:cNvPr id="1" name="Shape 2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9" name="Google Shape;2389;p29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90" name="Google Shape;2390;p29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91" name="Google Shape;2391;p29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392" name="Google Shape;2392;p2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93" name="Google Shape;2393;p2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94" name="Google Shape;2394;p29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95" name="Google Shape;2395;p29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96" name="Google Shape;2396;p29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397" name="Google Shape;2397;p29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 2">
    <p:spTree>
      <p:nvGrpSpPr>
        <p:cNvPr id="1" name="Shape 23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9" name="Google Shape;2399;p299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00" name="Google Shape;2400;p299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01" name="Google Shape;2401;p299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02" name="Google Shape;2402;p299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03" name="Google Shape;2403;p2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404" name="Google Shape;2404;p299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629127"/>
      </p:ext>
    </p:extLst>
  </p:cSld>
  <p:clrMapOvr>
    <a:masterClrMapping/>
  </p:clrMapOvr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8">
    <p:spTree>
      <p:nvGrpSpPr>
        <p:cNvPr id="1" name="Shape 2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6" name="Google Shape;2406;p300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07" name="Google Shape;2407;p30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08" name="Google Shape;2408;p30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09" name="Google Shape;2409;p300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410" name="Google Shape;2410;p30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8">
    <p:spTree>
      <p:nvGrpSpPr>
        <p:cNvPr id="1" name="Shape 2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2" name="Google Shape;2412;p30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413" name="Google Shape;2413;p30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2414" name="Google Shape;2414;p30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15" name="Google Shape;2415;p301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16" name="Google Shape;2416;p301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8">
    <p:spTree>
      <p:nvGrpSpPr>
        <p:cNvPr id="1" name="Shape 24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8" name="Google Shape;2418;p30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19" name="Google Shape;2419;p30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20" name="Google Shape;2420;p302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21" name="Google Shape;2421;p302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22" name="Google Shape;2422;p302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423" name="Google Shape;2423;p3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24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5" name="Google Shape;2425;p303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26" name="Google Shape;2426;p303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2427" name="Google Shape;2427;p30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28" name="Google Shape;2428;p3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29" name="Google Shape;2429;p3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2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1" name="Google Shape;2431;p304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32" name="Google Shape;2432;p304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2433" name="Google Shape;2433;p304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2434" name="Google Shape;2434;p30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35" name="Google Shape;2435;p3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36" name="Google Shape;2436;p3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24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8" name="Google Shape;2438;p305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39" name="Google Shape;2439;p305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40" name="Google Shape;2440;p305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41" name="Google Shape;2441;p305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42" name="Google Shape;2442;p305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43" name="Google Shape;2443;p305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444" name="Google Shape;2444;p305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45" name="Google Shape;2445;p305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446" name="Google Shape;2446;p3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">
    <p:spTree>
      <p:nvGrpSpPr>
        <p:cNvPr id="1" name="Shape 24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8" name="Google Shape;2448;p30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49" name="Google Shape;2449;p30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50" name="Google Shape;2450;p30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51" name="Google Shape;2451;p3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52" name="Google Shape;2452;p3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53" name="Google Shape;2453;p3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454" name="Google Shape;2454;p3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455" name="Google Shape;2455;p3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56" name="Google Shape;2456;p3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457" name="Google Shape;2457;p3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8" name="Google Shape;2458;p3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459" name="Google Shape;2459;p30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">
    <p:spTree>
      <p:nvGrpSpPr>
        <p:cNvPr id="1" name="Shape 24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1" name="Google Shape;2461;p307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62" name="Google Shape;2462;p307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63" name="Google Shape;2463;p307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64" name="Google Shape;2464;p307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65" name="Google Shape;2465;p307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66" name="Google Shape;2466;p307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467" name="Google Shape;2467;p307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68" name="Google Shape;2468;p307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469" name="Google Shape;2469;p3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 4">
    <p:spTree>
      <p:nvGrpSpPr>
        <p:cNvPr id="1" name="Shape 2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71" name="Google Shape;2471;p3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472" name="Google Shape;2472;p3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73" name="Google Shape;2473;p3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474" name="Google Shape;2474;p3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5" name="Google Shape;2475;p3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476" name="Google Shape;2476;p30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77" name="Google Shape;2477;p30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78" name="Google Shape;2478;p3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79" name="Google Shape;2479;p3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80" name="Google Shape;2480;p3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 3">
    <p:spTree>
      <p:nvGrpSpPr>
        <p:cNvPr id="1" name="Shape 24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2" name="Google Shape;2482;p30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483" name="Google Shape;2483;p30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484" name="Google Shape;2484;p30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485" name="Google Shape;2485;p30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86" name="Google Shape;2486;p30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487" name="Google Shape;2487;p30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488" name="Google Shape;2488;p3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2741348"/>
      </p:ext>
    </p:extLst>
  </p:cSld>
  <p:clrMapOvr>
    <a:masterClrMapping/>
  </p:clrMapOvr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3">
    <p:spTree>
      <p:nvGrpSpPr>
        <p:cNvPr id="1" name="Shape 24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0" name="Google Shape;2490;p310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91" name="Google Shape;2491;p310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92" name="Google Shape;2492;p310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93" name="Google Shape;2493;p310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94" name="Google Shape;2494;p310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95" name="Google Shape;2495;p310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496" name="Google Shape;2496;p310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97" name="Google Shape;2497;p310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498" name="Google Shape;2498;p3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7">
    <p:spTree>
      <p:nvGrpSpPr>
        <p:cNvPr id="1" name="Shape 24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00" name="Google Shape;2500;p31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01" name="Google Shape;2501;p31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02" name="Google Shape;2502;p31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03" name="Google Shape;2503;p3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04" name="Google Shape;2504;p3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05" name="Google Shape;2505;p3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06" name="Google Shape;2506;p3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07" name="Google Shape;2507;p3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08" name="Google Shape;2508;p3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09" name="Google Shape;2509;p3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0" name="Google Shape;2510;p3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11" name="Google Shape;2511;p31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3">
    <p:spTree>
      <p:nvGrpSpPr>
        <p:cNvPr id="1" name="Shape 2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3" name="Google Shape;2513;p31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14" name="Google Shape;2514;p3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15" name="Google Shape;2515;p3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16" name="Google Shape;2516;p3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17" name="Google Shape;2517;p3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18" name="Google Shape;2518;p3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19" name="Google Shape;2519;p3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20" name="Google Shape;2520;p3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21" name="Google Shape;2521;p3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22" name="Google Shape;2522;p3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3" name="Google Shape;2523;p3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24" name="Google Shape;2524;p31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8">
    <p:spTree>
      <p:nvGrpSpPr>
        <p:cNvPr id="1" name="Shape 25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6" name="Google Shape;2526;p31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27" name="Google Shape;2527;p31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28" name="Google Shape;2528;p31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29" name="Google Shape;2529;p3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30" name="Google Shape;2530;p3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31" name="Google Shape;2531;p3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32" name="Google Shape;2532;p3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33" name="Google Shape;2533;p3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34" name="Google Shape;2534;p3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35" name="Google Shape;2535;p3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36" name="Google Shape;2536;p3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37" name="Google Shape;2537;p31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4">
    <p:spTree>
      <p:nvGrpSpPr>
        <p:cNvPr id="1" name="Shape 25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9" name="Google Shape;2539;p31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40" name="Google Shape;2540;p31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41" name="Google Shape;2541;p3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42" name="Google Shape;2542;p3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43" name="Google Shape;2543;p3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44" name="Google Shape;2544;p3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45" name="Google Shape;2545;p3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46" name="Google Shape;2546;p3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47" name="Google Shape;2547;p3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48" name="Google Shape;2548;p3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49" name="Google Shape;2549;p3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50" name="Google Shape;2550;p31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8">
    <p:spTree>
      <p:nvGrpSpPr>
        <p:cNvPr id="1" name="Shape 2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2" name="Google Shape;2552;p31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53" name="Google Shape;2553;p31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54" name="Google Shape;2554;p31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555" name="Google Shape;2555;p31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556" name="Google Shape;2556;p31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557" name="Google Shape;2557;p31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8" name="Google Shape;2558;p31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559" name="Google Shape;2559;p3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9">
    <p:bg>
      <p:bgPr>
        <a:solidFill>
          <a:schemeClr val="lt2"/>
        </a:solidFill>
        <a:effectLst/>
      </p:bgPr>
    </p:bg>
    <p:spTree>
      <p:nvGrpSpPr>
        <p:cNvPr id="1" name="Shape 25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61" name="Google Shape;2561;p31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562" name="Google Shape;2562;p31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3" name="Google Shape;2563;p31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4" name="Google Shape;2564;p31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565" name="Google Shape;2565;p3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566" name="Google Shape;2566;p31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67" name="Google Shape;2567;p31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7">
    <p:spTree>
      <p:nvGrpSpPr>
        <p:cNvPr id="1" name="Shape 2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9" name="Google Shape;2569;p31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570" name="Google Shape;2570;p31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571" name="Google Shape;2571;p31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572" name="Google Shape;2572;p31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3" name="Google Shape;2573;p31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74" name="Google Shape;2574;p31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575" name="Google Shape;2575;p3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9">
    <p:spTree>
      <p:nvGrpSpPr>
        <p:cNvPr id="1" name="Shape 25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7" name="Google Shape;2577;p31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78" name="Google Shape;2578;p31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79" name="Google Shape;2579;p3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80" name="Google Shape;2580;p3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81" name="Google Shape;2581;p3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82" name="Google Shape;2582;p3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83" name="Google Shape;2583;p3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84" name="Google Shape;2584;p3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85" name="Google Shape;2585;p3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86" name="Google Shape;2586;p3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87" name="Google Shape;2587;p3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88" name="Google Shape;2588;p31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0">
    <p:spTree>
      <p:nvGrpSpPr>
        <p:cNvPr id="1" name="Shape 25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0" name="Google Shape;2590;p31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91" name="Google Shape;2591;p31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92" name="Google Shape;2592;p31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93" name="Google Shape;2593;p3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94" name="Google Shape;2594;p3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95" name="Google Shape;2595;p3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96" name="Google Shape;2596;p3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97" name="Google Shape;2597;p3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98" name="Google Shape;2598;p3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99" name="Google Shape;2599;p3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00" name="Google Shape;2600;p3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601" name="Google Shape;2601;p31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42047047"/>
      </p:ext>
    </p:extLst>
  </p:cSld>
  <p:clrMapOvr>
    <a:masterClrMapping/>
  </p:clrMapOvr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1">
    <p:spTree>
      <p:nvGrpSpPr>
        <p:cNvPr id="1" name="Shape 2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3" name="Google Shape;2603;p32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04" name="Google Shape;2604;p32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05" name="Google Shape;2605;p32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06" name="Google Shape;2606;p3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07" name="Google Shape;2607;p3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08" name="Google Shape;2608;p3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09" name="Google Shape;2609;p3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10" name="Google Shape;2610;p3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11" name="Google Shape;2611;p3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12" name="Google Shape;2612;p3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13" name="Google Shape;2613;p3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614" name="Google Shape;2614;p32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2">
    <p:spTree>
      <p:nvGrpSpPr>
        <p:cNvPr id="1" name="Shape 2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6" name="Google Shape;2616;p32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17" name="Google Shape;2617;p32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18" name="Google Shape;2618;p32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19" name="Google Shape;2619;p3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20" name="Google Shape;2620;p3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21" name="Google Shape;2621;p3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22" name="Google Shape;2622;p3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23" name="Google Shape;2623;p3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24" name="Google Shape;2624;p3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25" name="Google Shape;2625;p3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26" name="Google Shape;2626;p3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627" name="Google Shape;2627;p32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9">
    <p:spTree>
      <p:nvGrpSpPr>
        <p:cNvPr id="1" name="Shape 26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29" name="Google Shape;2629;p3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30" name="Google Shape;2630;p3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31" name="Google Shape;2631;p3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32" name="Google Shape;2632;p3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33" name="Google Shape;2633;p3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34" name="Google Shape;2634;p3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35" name="Google Shape;2635;p32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36" name="Google Shape;2636;p3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37" name="Google Shape;2637;p3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38" name="Google Shape;2638;p3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6">
    <p:spTree>
      <p:nvGrpSpPr>
        <p:cNvPr id="1" name="Shape 2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0" name="Google Shape;2640;p3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41" name="Google Shape;2641;p32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642" name="Google Shape;2642;p3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43" name="Google Shape;2643;p3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44" name="Google Shape;2644;p3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45" name="Google Shape;2645;p3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46" name="Google Shape;2646;p3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47" name="Google Shape;2647;p32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48" name="Google Shape;2648;p32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49" name="Google Shape;2649;p3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50" name="Google Shape;2650;p3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6">
    <p:spTree>
      <p:nvGrpSpPr>
        <p:cNvPr id="1" name="Shape 26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52" name="Google Shape;2652;p3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53" name="Google Shape;2653;p3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54" name="Google Shape;2654;p3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55" name="Google Shape;2655;p3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56" name="Google Shape;2656;p3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57" name="Google Shape;2657;p3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58" name="Google Shape;2658;p32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659" name="Google Shape;2659;p32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60" name="Google Shape;2660;p32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661" name="Google Shape;2661;p32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62" name="Google Shape;2662;p3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63" name="Google Shape;2663;p3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64" name="Google Shape;2664;p3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6">
    <p:spTree>
      <p:nvGrpSpPr>
        <p:cNvPr id="1" name="Shape 26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66" name="Google Shape;2666;p3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67" name="Google Shape;2667;p3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68" name="Google Shape;2668;p3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69" name="Google Shape;2669;p3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70" name="Google Shape;2670;p3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71" name="Google Shape;2671;p3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72" name="Google Shape;2672;p3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73" name="Google Shape;2673;p3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74" name="Google Shape;2674;p3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7">
    <p:spTree>
      <p:nvGrpSpPr>
        <p:cNvPr id="1" name="Shape 2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76" name="Google Shape;2676;p32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677" name="Google Shape;2677;p32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8" name="Google Shape;2678;p32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79" name="Google Shape;2679;p32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80" name="Google Shape;2680;p32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81" name="Google Shape;2681;p32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682" name="Google Shape;2682;p3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683" name="Google Shape;2683;p32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7">
    <p:spTree>
      <p:nvGrpSpPr>
        <p:cNvPr id="1" name="Shape 2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5" name="Google Shape;2685;p3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86" name="Google Shape;2686;p3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87" name="Google Shape;2687;p3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88" name="Google Shape;2688;p3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89" name="Google Shape;2689;p3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90" name="Google Shape;2690;p3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91" name="Google Shape;2691;p3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92" name="Google Shape;2692;p3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446120"/>
      </p:ext>
    </p:extLst>
  </p:cSld>
  <p:clrMapOvr>
    <a:masterClrMapping/>
  </p:clrMapOvr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0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0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0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0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0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0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3249338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4528005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484348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671" Type="http://schemas.openxmlformats.org/officeDocument/2006/relationships/slideLayout" Target="../slideLayouts/slideLayout671.xml"/><Relationship Id="rId21" Type="http://schemas.openxmlformats.org/officeDocument/2006/relationships/slideLayout" Target="../slideLayouts/slideLayout21.xml"/><Relationship Id="rId324" Type="http://schemas.openxmlformats.org/officeDocument/2006/relationships/slideLayout" Target="../slideLayouts/slideLayout324.xml"/><Relationship Id="rId531" Type="http://schemas.openxmlformats.org/officeDocument/2006/relationships/slideLayout" Target="../slideLayouts/slideLayout531.xml"/><Relationship Id="rId629" Type="http://schemas.openxmlformats.org/officeDocument/2006/relationships/slideLayout" Target="../slideLayouts/slideLayout629.xml"/><Relationship Id="rId170" Type="http://schemas.openxmlformats.org/officeDocument/2006/relationships/slideLayout" Target="../slideLayouts/slideLayout170.xml"/><Relationship Id="rId268" Type="http://schemas.openxmlformats.org/officeDocument/2006/relationships/slideLayout" Target="../slideLayouts/slideLayout268.xml"/><Relationship Id="rId475" Type="http://schemas.openxmlformats.org/officeDocument/2006/relationships/slideLayout" Target="../slideLayouts/slideLayout475.xml"/><Relationship Id="rId682" Type="http://schemas.openxmlformats.org/officeDocument/2006/relationships/slideLayout" Target="../slideLayouts/slideLayout682.xml"/><Relationship Id="rId32" Type="http://schemas.openxmlformats.org/officeDocument/2006/relationships/slideLayout" Target="../slideLayouts/slideLayout32.xml"/><Relationship Id="rId128" Type="http://schemas.openxmlformats.org/officeDocument/2006/relationships/slideLayout" Target="../slideLayouts/slideLayout128.xml"/><Relationship Id="rId335" Type="http://schemas.openxmlformats.org/officeDocument/2006/relationships/slideLayout" Target="../slideLayouts/slideLayout335.xml"/><Relationship Id="rId542" Type="http://schemas.openxmlformats.org/officeDocument/2006/relationships/slideLayout" Target="../slideLayouts/slideLayout542.xml"/><Relationship Id="rId181" Type="http://schemas.openxmlformats.org/officeDocument/2006/relationships/slideLayout" Target="../slideLayouts/slideLayout181.xml"/><Relationship Id="rId402" Type="http://schemas.openxmlformats.org/officeDocument/2006/relationships/slideLayout" Target="../slideLayouts/slideLayout402.xml"/><Relationship Id="rId279" Type="http://schemas.openxmlformats.org/officeDocument/2006/relationships/slideLayout" Target="../slideLayouts/slideLayout279.xml"/><Relationship Id="rId486" Type="http://schemas.openxmlformats.org/officeDocument/2006/relationships/slideLayout" Target="../slideLayouts/slideLayout486.xml"/><Relationship Id="rId43" Type="http://schemas.openxmlformats.org/officeDocument/2006/relationships/slideLayout" Target="../slideLayouts/slideLayout43.xml"/><Relationship Id="rId139" Type="http://schemas.openxmlformats.org/officeDocument/2006/relationships/slideLayout" Target="../slideLayouts/slideLayout139.xml"/><Relationship Id="rId346" Type="http://schemas.openxmlformats.org/officeDocument/2006/relationships/slideLayout" Target="../slideLayouts/slideLayout346.xml"/><Relationship Id="rId553" Type="http://schemas.openxmlformats.org/officeDocument/2006/relationships/slideLayout" Target="../slideLayouts/slideLayout553.xml"/><Relationship Id="rId192" Type="http://schemas.openxmlformats.org/officeDocument/2006/relationships/slideLayout" Target="../slideLayouts/slideLayout192.xml"/><Relationship Id="rId206" Type="http://schemas.openxmlformats.org/officeDocument/2006/relationships/slideLayout" Target="../slideLayouts/slideLayout206.xml"/><Relationship Id="rId413" Type="http://schemas.openxmlformats.org/officeDocument/2006/relationships/slideLayout" Target="../slideLayouts/slideLayout413.xml"/><Relationship Id="rId497" Type="http://schemas.openxmlformats.org/officeDocument/2006/relationships/slideLayout" Target="../slideLayouts/slideLayout497.xml"/><Relationship Id="rId620" Type="http://schemas.openxmlformats.org/officeDocument/2006/relationships/slideLayout" Target="../slideLayouts/slideLayout620.xml"/><Relationship Id="rId357" Type="http://schemas.openxmlformats.org/officeDocument/2006/relationships/slideLayout" Target="../slideLayouts/slideLayout357.xml"/><Relationship Id="rId54" Type="http://schemas.openxmlformats.org/officeDocument/2006/relationships/slideLayout" Target="../slideLayouts/slideLayout54.xml"/><Relationship Id="rId217" Type="http://schemas.openxmlformats.org/officeDocument/2006/relationships/slideLayout" Target="../slideLayouts/slideLayout217.xml"/><Relationship Id="rId564" Type="http://schemas.openxmlformats.org/officeDocument/2006/relationships/slideLayout" Target="../slideLayouts/slideLayout564.xml"/><Relationship Id="rId424" Type="http://schemas.openxmlformats.org/officeDocument/2006/relationships/slideLayout" Target="../slideLayouts/slideLayout424.xml"/><Relationship Id="rId631" Type="http://schemas.openxmlformats.org/officeDocument/2006/relationships/slideLayout" Target="../slideLayouts/slideLayout631.xml"/><Relationship Id="rId270" Type="http://schemas.openxmlformats.org/officeDocument/2006/relationships/slideLayout" Target="../slideLayouts/slideLayout270.xml"/><Relationship Id="rId65" Type="http://schemas.openxmlformats.org/officeDocument/2006/relationships/slideLayout" Target="../slideLayouts/slideLayout65.xml"/><Relationship Id="rId130" Type="http://schemas.openxmlformats.org/officeDocument/2006/relationships/slideLayout" Target="../slideLayouts/slideLayout130.xml"/><Relationship Id="rId368" Type="http://schemas.openxmlformats.org/officeDocument/2006/relationships/slideLayout" Target="../slideLayouts/slideLayout368.xml"/><Relationship Id="rId575" Type="http://schemas.openxmlformats.org/officeDocument/2006/relationships/slideLayout" Target="../slideLayouts/slideLayout575.xml"/><Relationship Id="rId228" Type="http://schemas.openxmlformats.org/officeDocument/2006/relationships/slideLayout" Target="../slideLayouts/slideLayout228.xml"/><Relationship Id="rId435" Type="http://schemas.openxmlformats.org/officeDocument/2006/relationships/slideLayout" Target="../slideLayouts/slideLayout435.xml"/><Relationship Id="rId642" Type="http://schemas.openxmlformats.org/officeDocument/2006/relationships/slideLayout" Target="../slideLayouts/slideLayout642.xml"/><Relationship Id="rId281" Type="http://schemas.openxmlformats.org/officeDocument/2006/relationships/slideLayout" Target="../slideLayouts/slideLayout281.xml"/><Relationship Id="rId502" Type="http://schemas.openxmlformats.org/officeDocument/2006/relationships/slideLayout" Target="../slideLayouts/slideLayout502.xml"/><Relationship Id="rId76" Type="http://schemas.openxmlformats.org/officeDocument/2006/relationships/slideLayout" Target="../slideLayouts/slideLayout76.xml"/><Relationship Id="rId141" Type="http://schemas.openxmlformats.org/officeDocument/2006/relationships/slideLayout" Target="../slideLayouts/slideLayout141.xml"/><Relationship Id="rId379" Type="http://schemas.openxmlformats.org/officeDocument/2006/relationships/slideLayout" Target="../slideLayouts/slideLayout379.xml"/><Relationship Id="rId586" Type="http://schemas.openxmlformats.org/officeDocument/2006/relationships/slideLayout" Target="../slideLayouts/slideLayout586.xml"/><Relationship Id="rId7" Type="http://schemas.openxmlformats.org/officeDocument/2006/relationships/slideLayout" Target="../slideLayouts/slideLayout7.xml"/><Relationship Id="rId239" Type="http://schemas.openxmlformats.org/officeDocument/2006/relationships/slideLayout" Target="../slideLayouts/slideLayout239.xml"/><Relationship Id="rId446" Type="http://schemas.openxmlformats.org/officeDocument/2006/relationships/slideLayout" Target="../slideLayouts/slideLayout446.xml"/><Relationship Id="rId653" Type="http://schemas.openxmlformats.org/officeDocument/2006/relationships/slideLayout" Target="../slideLayouts/slideLayout653.xml"/><Relationship Id="rId292" Type="http://schemas.openxmlformats.org/officeDocument/2006/relationships/slideLayout" Target="../slideLayouts/slideLayout292.xml"/><Relationship Id="rId306" Type="http://schemas.openxmlformats.org/officeDocument/2006/relationships/slideLayout" Target="../slideLayouts/slideLayout306.xml"/><Relationship Id="rId87" Type="http://schemas.openxmlformats.org/officeDocument/2006/relationships/slideLayout" Target="../slideLayouts/slideLayout87.xml"/><Relationship Id="rId513" Type="http://schemas.openxmlformats.org/officeDocument/2006/relationships/slideLayout" Target="../slideLayouts/slideLayout513.xml"/><Relationship Id="rId597" Type="http://schemas.openxmlformats.org/officeDocument/2006/relationships/slideLayout" Target="../slideLayouts/slideLayout597.xml"/><Relationship Id="rId152" Type="http://schemas.openxmlformats.org/officeDocument/2006/relationships/slideLayout" Target="../slideLayouts/slideLayout152.xml"/><Relationship Id="rId457" Type="http://schemas.openxmlformats.org/officeDocument/2006/relationships/slideLayout" Target="../slideLayouts/slideLayout457.xml"/><Relationship Id="rId664" Type="http://schemas.openxmlformats.org/officeDocument/2006/relationships/slideLayout" Target="../slideLayouts/slideLayout664.xml"/><Relationship Id="rId14" Type="http://schemas.openxmlformats.org/officeDocument/2006/relationships/slideLayout" Target="../slideLayouts/slideLayout14.xml"/><Relationship Id="rId317" Type="http://schemas.openxmlformats.org/officeDocument/2006/relationships/slideLayout" Target="../slideLayouts/slideLayout317.xml"/><Relationship Id="rId524" Type="http://schemas.openxmlformats.org/officeDocument/2006/relationships/slideLayout" Target="../slideLayouts/slideLayout524.xml"/><Relationship Id="rId98" Type="http://schemas.openxmlformats.org/officeDocument/2006/relationships/slideLayout" Target="../slideLayouts/slideLayout98.xml"/><Relationship Id="rId163" Type="http://schemas.openxmlformats.org/officeDocument/2006/relationships/slideLayout" Target="../slideLayouts/slideLayout163.xml"/><Relationship Id="rId370" Type="http://schemas.openxmlformats.org/officeDocument/2006/relationships/slideLayout" Target="../slideLayouts/slideLayout370.xml"/><Relationship Id="rId230" Type="http://schemas.openxmlformats.org/officeDocument/2006/relationships/slideLayout" Target="../slideLayouts/slideLayout230.xml"/><Relationship Id="rId468" Type="http://schemas.openxmlformats.org/officeDocument/2006/relationships/slideLayout" Target="../slideLayouts/slideLayout468.xml"/><Relationship Id="rId675" Type="http://schemas.openxmlformats.org/officeDocument/2006/relationships/slideLayout" Target="../slideLayouts/slideLayout675.xml"/><Relationship Id="rId25" Type="http://schemas.openxmlformats.org/officeDocument/2006/relationships/slideLayout" Target="../slideLayouts/slideLayout25.xml"/><Relationship Id="rId328" Type="http://schemas.openxmlformats.org/officeDocument/2006/relationships/slideLayout" Target="../slideLayouts/slideLayout328.xml"/><Relationship Id="rId535" Type="http://schemas.openxmlformats.org/officeDocument/2006/relationships/slideLayout" Target="../slideLayouts/slideLayout535.xml"/><Relationship Id="rId174" Type="http://schemas.openxmlformats.org/officeDocument/2006/relationships/slideLayout" Target="../slideLayouts/slideLayout174.xml"/><Relationship Id="rId381" Type="http://schemas.openxmlformats.org/officeDocument/2006/relationships/slideLayout" Target="../slideLayouts/slideLayout381.xml"/><Relationship Id="rId602" Type="http://schemas.openxmlformats.org/officeDocument/2006/relationships/slideLayout" Target="../slideLayouts/slideLayout602.xml"/><Relationship Id="rId241" Type="http://schemas.openxmlformats.org/officeDocument/2006/relationships/slideLayout" Target="../slideLayouts/slideLayout241.xml"/><Relationship Id="rId479" Type="http://schemas.openxmlformats.org/officeDocument/2006/relationships/slideLayout" Target="../slideLayouts/slideLayout479.xml"/><Relationship Id="rId686" Type="http://schemas.openxmlformats.org/officeDocument/2006/relationships/theme" Target="../theme/theme1.xml"/><Relationship Id="rId36" Type="http://schemas.openxmlformats.org/officeDocument/2006/relationships/slideLayout" Target="../slideLayouts/slideLayout36.xml"/><Relationship Id="rId339" Type="http://schemas.openxmlformats.org/officeDocument/2006/relationships/slideLayout" Target="../slideLayouts/slideLayout339.xml"/><Relationship Id="rId546" Type="http://schemas.openxmlformats.org/officeDocument/2006/relationships/slideLayout" Target="../slideLayouts/slideLayout546.xml"/><Relationship Id="rId101" Type="http://schemas.openxmlformats.org/officeDocument/2006/relationships/slideLayout" Target="../slideLayouts/slideLayout101.xml"/><Relationship Id="rId185" Type="http://schemas.openxmlformats.org/officeDocument/2006/relationships/slideLayout" Target="../slideLayouts/slideLayout185.xml"/><Relationship Id="rId406" Type="http://schemas.openxmlformats.org/officeDocument/2006/relationships/slideLayout" Target="../slideLayouts/slideLayout406.xml"/><Relationship Id="rId392" Type="http://schemas.openxmlformats.org/officeDocument/2006/relationships/slideLayout" Target="../slideLayouts/slideLayout392.xml"/><Relationship Id="rId613" Type="http://schemas.openxmlformats.org/officeDocument/2006/relationships/slideLayout" Target="../slideLayouts/slideLayout613.xml"/><Relationship Id="rId252" Type="http://schemas.openxmlformats.org/officeDocument/2006/relationships/slideLayout" Target="../slideLayouts/slideLayout252.xml"/><Relationship Id="rId47" Type="http://schemas.openxmlformats.org/officeDocument/2006/relationships/slideLayout" Target="../slideLayouts/slideLayout47.xml"/><Relationship Id="rId112" Type="http://schemas.openxmlformats.org/officeDocument/2006/relationships/slideLayout" Target="../slideLayouts/slideLayout112.xml"/><Relationship Id="rId557" Type="http://schemas.openxmlformats.org/officeDocument/2006/relationships/slideLayout" Target="../slideLayouts/slideLayout557.xml"/><Relationship Id="rId196" Type="http://schemas.openxmlformats.org/officeDocument/2006/relationships/slideLayout" Target="../slideLayouts/slideLayout196.xml"/><Relationship Id="rId417" Type="http://schemas.openxmlformats.org/officeDocument/2006/relationships/slideLayout" Target="../slideLayouts/slideLayout417.xml"/><Relationship Id="rId624" Type="http://schemas.openxmlformats.org/officeDocument/2006/relationships/slideLayout" Target="../slideLayouts/slideLayout624.xml"/><Relationship Id="rId263" Type="http://schemas.openxmlformats.org/officeDocument/2006/relationships/slideLayout" Target="../slideLayouts/slideLayout263.xml"/><Relationship Id="rId470" Type="http://schemas.openxmlformats.org/officeDocument/2006/relationships/slideLayout" Target="../slideLayouts/slideLayout470.xml"/><Relationship Id="rId58" Type="http://schemas.openxmlformats.org/officeDocument/2006/relationships/slideLayout" Target="../slideLayouts/slideLayout58.xml"/><Relationship Id="rId123" Type="http://schemas.openxmlformats.org/officeDocument/2006/relationships/slideLayout" Target="../slideLayouts/slideLayout123.xml"/><Relationship Id="rId330" Type="http://schemas.openxmlformats.org/officeDocument/2006/relationships/slideLayout" Target="../slideLayouts/slideLayout330.xml"/><Relationship Id="rId568" Type="http://schemas.openxmlformats.org/officeDocument/2006/relationships/slideLayout" Target="../slideLayouts/slideLayout568.xml"/><Relationship Id="rId428" Type="http://schemas.openxmlformats.org/officeDocument/2006/relationships/slideLayout" Target="../slideLayouts/slideLayout428.xml"/><Relationship Id="rId635" Type="http://schemas.openxmlformats.org/officeDocument/2006/relationships/slideLayout" Target="../slideLayouts/slideLayout635.xml"/><Relationship Id="rId274" Type="http://schemas.openxmlformats.org/officeDocument/2006/relationships/slideLayout" Target="../slideLayouts/slideLayout274.xml"/><Relationship Id="rId481" Type="http://schemas.openxmlformats.org/officeDocument/2006/relationships/slideLayout" Target="../slideLayouts/slideLayout481.xml"/><Relationship Id="rId69" Type="http://schemas.openxmlformats.org/officeDocument/2006/relationships/slideLayout" Target="../slideLayouts/slideLayout69.xml"/><Relationship Id="rId134" Type="http://schemas.openxmlformats.org/officeDocument/2006/relationships/slideLayout" Target="../slideLayouts/slideLayout134.xml"/><Relationship Id="rId579" Type="http://schemas.openxmlformats.org/officeDocument/2006/relationships/slideLayout" Target="../slideLayouts/slideLayout579.xml"/><Relationship Id="rId341" Type="http://schemas.openxmlformats.org/officeDocument/2006/relationships/slideLayout" Target="../slideLayouts/slideLayout341.xml"/><Relationship Id="rId439" Type="http://schemas.openxmlformats.org/officeDocument/2006/relationships/slideLayout" Target="../slideLayouts/slideLayout439.xml"/><Relationship Id="rId646" Type="http://schemas.openxmlformats.org/officeDocument/2006/relationships/slideLayout" Target="../slideLayouts/slideLayout646.xml"/><Relationship Id="rId201" Type="http://schemas.openxmlformats.org/officeDocument/2006/relationships/slideLayout" Target="../slideLayouts/slideLayout201.xml"/><Relationship Id="rId285" Type="http://schemas.openxmlformats.org/officeDocument/2006/relationships/slideLayout" Target="../slideLayouts/slideLayout285.xml"/><Relationship Id="rId506" Type="http://schemas.openxmlformats.org/officeDocument/2006/relationships/slideLayout" Target="../slideLayouts/slideLayout506.xml"/><Relationship Id="rId492" Type="http://schemas.openxmlformats.org/officeDocument/2006/relationships/slideLayout" Target="../slideLayouts/slideLayout492.xml"/><Relationship Id="rId145" Type="http://schemas.openxmlformats.org/officeDocument/2006/relationships/slideLayout" Target="../slideLayouts/slideLayout145.xml"/><Relationship Id="rId352" Type="http://schemas.openxmlformats.org/officeDocument/2006/relationships/slideLayout" Target="../slideLayouts/slideLayout352.xml"/><Relationship Id="rId212" Type="http://schemas.openxmlformats.org/officeDocument/2006/relationships/slideLayout" Target="../slideLayouts/slideLayout212.xml"/><Relationship Id="rId254" Type="http://schemas.openxmlformats.org/officeDocument/2006/relationships/slideLayout" Target="../slideLayouts/slideLayout254.xml"/><Relationship Id="rId657" Type="http://schemas.openxmlformats.org/officeDocument/2006/relationships/slideLayout" Target="../slideLayouts/slideLayout657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296" Type="http://schemas.openxmlformats.org/officeDocument/2006/relationships/slideLayout" Target="../slideLayouts/slideLayout296.xml"/><Relationship Id="rId461" Type="http://schemas.openxmlformats.org/officeDocument/2006/relationships/slideLayout" Target="../slideLayouts/slideLayout461.xml"/><Relationship Id="rId517" Type="http://schemas.openxmlformats.org/officeDocument/2006/relationships/slideLayout" Target="../slideLayouts/slideLayout517.xml"/><Relationship Id="rId559" Type="http://schemas.openxmlformats.org/officeDocument/2006/relationships/slideLayout" Target="../slideLayouts/slideLayout559.xml"/><Relationship Id="rId60" Type="http://schemas.openxmlformats.org/officeDocument/2006/relationships/slideLayout" Target="../slideLayouts/slideLayout60.xml"/><Relationship Id="rId156" Type="http://schemas.openxmlformats.org/officeDocument/2006/relationships/slideLayout" Target="../slideLayouts/slideLayout156.xml"/><Relationship Id="rId198" Type="http://schemas.openxmlformats.org/officeDocument/2006/relationships/slideLayout" Target="../slideLayouts/slideLayout198.xml"/><Relationship Id="rId321" Type="http://schemas.openxmlformats.org/officeDocument/2006/relationships/slideLayout" Target="../slideLayouts/slideLayout321.xml"/><Relationship Id="rId363" Type="http://schemas.openxmlformats.org/officeDocument/2006/relationships/slideLayout" Target="../slideLayouts/slideLayout363.xml"/><Relationship Id="rId419" Type="http://schemas.openxmlformats.org/officeDocument/2006/relationships/slideLayout" Target="../slideLayouts/slideLayout419.xml"/><Relationship Id="rId570" Type="http://schemas.openxmlformats.org/officeDocument/2006/relationships/slideLayout" Target="../slideLayouts/slideLayout570.xml"/><Relationship Id="rId626" Type="http://schemas.openxmlformats.org/officeDocument/2006/relationships/slideLayout" Target="../slideLayouts/slideLayout626.xml"/><Relationship Id="rId223" Type="http://schemas.openxmlformats.org/officeDocument/2006/relationships/slideLayout" Target="../slideLayouts/slideLayout223.xml"/><Relationship Id="rId430" Type="http://schemas.openxmlformats.org/officeDocument/2006/relationships/slideLayout" Target="../slideLayouts/slideLayout430.xml"/><Relationship Id="rId668" Type="http://schemas.openxmlformats.org/officeDocument/2006/relationships/slideLayout" Target="../slideLayouts/slideLayout668.xml"/><Relationship Id="rId18" Type="http://schemas.openxmlformats.org/officeDocument/2006/relationships/slideLayout" Target="../slideLayouts/slideLayout18.xml"/><Relationship Id="rId265" Type="http://schemas.openxmlformats.org/officeDocument/2006/relationships/slideLayout" Target="../slideLayouts/slideLayout265.xml"/><Relationship Id="rId472" Type="http://schemas.openxmlformats.org/officeDocument/2006/relationships/slideLayout" Target="../slideLayouts/slideLayout472.xml"/><Relationship Id="rId528" Type="http://schemas.openxmlformats.org/officeDocument/2006/relationships/slideLayout" Target="../slideLayouts/slideLayout528.xml"/><Relationship Id="rId125" Type="http://schemas.openxmlformats.org/officeDocument/2006/relationships/slideLayout" Target="../slideLayouts/slideLayout125.xml"/><Relationship Id="rId167" Type="http://schemas.openxmlformats.org/officeDocument/2006/relationships/slideLayout" Target="../slideLayouts/slideLayout167.xml"/><Relationship Id="rId332" Type="http://schemas.openxmlformats.org/officeDocument/2006/relationships/slideLayout" Target="../slideLayouts/slideLayout332.xml"/><Relationship Id="rId374" Type="http://schemas.openxmlformats.org/officeDocument/2006/relationships/slideLayout" Target="../slideLayouts/slideLayout374.xml"/><Relationship Id="rId581" Type="http://schemas.openxmlformats.org/officeDocument/2006/relationships/slideLayout" Target="../slideLayouts/slideLayout581.xml"/><Relationship Id="rId71" Type="http://schemas.openxmlformats.org/officeDocument/2006/relationships/slideLayout" Target="../slideLayouts/slideLayout71.xml"/><Relationship Id="rId234" Type="http://schemas.openxmlformats.org/officeDocument/2006/relationships/slideLayout" Target="../slideLayouts/slideLayout234.xml"/><Relationship Id="rId637" Type="http://schemas.openxmlformats.org/officeDocument/2006/relationships/slideLayout" Target="../slideLayouts/slideLayout637.xml"/><Relationship Id="rId679" Type="http://schemas.openxmlformats.org/officeDocument/2006/relationships/slideLayout" Target="../slideLayouts/slideLayout679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76" Type="http://schemas.openxmlformats.org/officeDocument/2006/relationships/slideLayout" Target="../slideLayouts/slideLayout276.xml"/><Relationship Id="rId441" Type="http://schemas.openxmlformats.org/officeDocument/2006/relationships/slideLayout" Target="../slideLayouts/slideLayout441.xml"/><Relationship Id="rId483" Type="http://schemas.openxmlformats.org/officeDocument/2006/relationships/slideLayout" Target="../slideLayouts/slideLayout483.xml"/><Relationship Id="rId539" Type="http://schemas.openxmlformats.org/officeDocument/2006/relationships/slideLayout" Target="../slideLayouts/slideLayout539.xml"/><Relationship Id="rId40" Type="http://schemas.openxmlformats.org/officeDocument/2006/relationships/slideLayout" Target="../slideLayouts/slideLayout40.xml"/><Relationship Id="rId136" Type="http://schemas.openxmlformats.org/officeDocument/2006/relationships/slideLayout" Target="../slideLayouts/slideLayout136.xml"/><Relationship Id="rId178" Type="http://schemas.openxmlformats.org/officeDocument/2006/relationships/slideLayout" Target="../slideLayouts/slideLayout178.xml"/><Relationship Id="rId301" Type="http://schemas.openxmlformats.org/officeDocument/2006/relationships/slideLayout" Target="../slideLayouts/slideLayout301.xml"/><Relationship Id="rId343" Type="http://schemas.openxmlformats.org/officeDocument/2006/relationships/slideLayout" Target="../slideLayouts/slideLayout343.xml"/><Relationship Id="rId550" Type="http://schemas.openxmlformats.org/officeDocument/2006/relationships/slideLayout" Target="../slideLayouts/slideLayout550.xml"/><Relationship Id="rId82" Type="http://schemas.openxmlformats.org/officeDocument/2006/relationships/slideLayout" Target="../slideLayouts/slideLayout82.xml"/><Relationship Id="rId203" Type="http://schemas.openxmlformats.org/officeDocument/2006/relationships/slideLayout" Target="../slideLayouts/slideLayout203.xml"/><Relationship Id="rId385" Type="http://schemas.openxmlformats.org/officeDocument/2006/relationships/slideLayout" Target="../slideLayouts/slideLayout385.xml"/><Relationship Id="rId592" Type="http://schemas.openxmlformats.org/officeDocument/2006/relationships/slideLayout" Target="../slideLayouts/slideLayout592.xml"/><Relationship Id="rId606" Type="http://schemas.openxmlformats.org/officeDocument/2006/relationships/slideLayout" Target="../slideLayouts/slideLayout606.xml"/><Relationship Id="rId648" Type="http://schemas.openxmlformats.org/officeDocument/2006/relationships/slideLayout" Target="../slideLayouts/slideLayout648.xml"/><Relationship Id="rId245" Type="http://schemas.openxmlformats.org/officeDocument/2006/relationships/slideLayout" Target="../slideLayouts/slideLayout245.xml"/><Relationship Id="rId287" Type="http://schemas.openxmlformats.org/officeDocument/2006/relationships/slideLayout" Target="../slideLayouts/slideLayout287.xml"/><Relationship Id="rId410" Type="http://schemas.openxmlformats.org/officeDocument/2006/relationships/slideLayout" Target="../slideLayouts/slideLayout410.xml"/><Relationship Id="rId452" Type="http://schemas.openxmlformats.org/officeDocument/2006/relationships/slideLayout" Target="../slideLayouts/slideLayout452.xml"/><Relationship Id="rId494" Type="http://schemas.openxmlformats.org/officeDocument/2006/relationships/slideLayout" Target="../slideLayouts/slideLayout494.xml"/><Relationship Id="rId508" Type="http://schemas.openxmlformats.org/officeDocument/2006/relationships/slideLayout" Target="../slideLayouts/slideLayout508.xml"/><Relationship Id="rId105" Type="http://schemas.openxmlformats.org/officeDocument/2006/relationships/slideLayout" Target="../slideLayouts/slideLayout105.xml"/><Relationship Id="rId147" Type="http://schemas.openxmlformats.org/officeDocument/2006/relationships/slideLayout" Target="../slideLayouts/slideLayout147.xml"/><Relationship Id="rId312" Type="http://schemas.openxmlformats.org/officeDocument/2006/relationships/slideLayout" Target="../slideLayouts/slideLayout312.xml"/><Relationship Id="rId354" Type="http://schemas.openxmlformats.org/officeDocument/2006/relationships/slideLayout" Target="../slideLayouts/slideLayout354.xml"/><Relationship Id="rId51" Type="http://schemas.openxmlformats.org/officeDocument/2006/relationships/slideLayout" Target="../slideLayouts/slideLayout51.xml"/><Relationship Id="rId93" Type="http://schemas.openxmlformats.org/officeDocument/2006/relationships/slideLayout" Target="../slideLayouts/slideLayout93.xml"/><Relationship Id="rId189" Type="http://schemas.openxmlformats.org/officeDocument/2006/relationships/slideLayout" Target="../slideLayouts/slideLayout189.xml"/><Relationship Id="rId396" Type="http://schemas.openxmlformats.org/officeDocument/2006/relationships/slideLayout" Target="../slideLayouts/slideLayout396.xml"/><Relationship Id="rId561" Type="http://schemas.openxmlformats.org/officeDocument/2006/relationships/slideLayout" Target="../slideLayouts/slideLayout561.xml"/><Relationship Id="rId617" Type="http://schemas.openxmlformats.org/officeDocument/2006/relationships/slideLayout" Target="../slideLayouts/slideLayout617.xml"/><Relationship Id="rId659" Type="http://schemas.openxmlformats.org/officeDocument/2006/relationships/slideLayout" Target="../slideLayouts/slideLayout659.xml"/><Relationship Id="rId214" Type="http://schemas.openxmlformats.org/officeDocument/2006/relationships/slideLayout" Target="../slideLayouts/slideLayout214.xml"/><Relationship Id="rId256" Type="http://schemas.openxmlformats.org/officeDocument/2006/relationships/slideLayout" Target="../slideLayouts/slideLayout256.xml"/><Relationship Id="rId298" Type="http://schemas.openxmlformats.org/officeDocument/2006/relationships/slideLayout" Target="../slideLayouts/slideLayout298.xml"/><Relationship Id="rId421" Type="http://schemas.openxmlformats.org/officeDocument/2006/relationships/slideLayout" Target="../slideLayouts/slideLayout421.xml"/><Relationship Id="rId463" Type="http://schemas.openxmlformats.org/officeDocument/2006/relationships/slideLayout" Target="../slideLayouts/slideLayout463.xml"/><Relationship Id="rId519" Type="http://schemas.openxmlformats.org/officeDocument/2006/relationships/slideLayout" Target="../slideLayouts/slideLayout519.xml"/><Relationship Id="rId670" Type="http://schemas.openxmlformats.org/officeDocument/2006/relationships/slideLayout" Target="../slideLayouts/slideLayout670.xml"/><Relationship Id="rId116" Type="http://schemas.openxmlformats.org/officeDocument/2006/relationships/slideLayout" Target="../slideLayouts/slideLayout116.xml"/><Relationship Id="rId158" Type="http://schemas.openxmlformats.org/officeDocument/2006/relationships/slideLayout" Target="../slideLayouts/slideLayout158.xml"/><Relationship Id="rId323" Type="http://schemas.openxmlformats.org/officeDocument/2006/relationships/slideLayout" Target="../slideLayouts/slideLayout323.xml"/><Relationship Id="rId530" Type="http://schemas.openxmlformats.org/officeDocument/2006/relationships/slideLayout" Target="../slideLayouts/slideLayout530.xml"/><Relationship Id="rId20" Type="http://schemas.openxmlformats.org/officeDocument/2006/relationships/slideLayout" Target="../slideLayouts/slideLayout20.xml"/><Relationship Id="rId62" Type="http://schemas.openxmlformats.org/officeDocument/2006/relationships/slideLayout" Target="../slideLayouts/slideLayout62.xml"/><Relationship Id="rId365" Type="http://schemas.openxmlformats.org/officeDocument/2006/relationships/slideLayout" Target="../slideLayouts/slideLayout365.xml"/><Relationship Id="rId572" Type="http://schemas.openxmlformats.org/officeDocument/2006/relationships/slideLayout" Target="../slideLayouts/slideLayout572.xml"/><Relationship Id="rId628" Type="http://schemas.openxmlformats.org/officeDocument/2006/relationships/slideLayout" Target="../slideLayouts/slideLayout628.xml"/><Relationship Id="rId225" Type="http://schemas.openxmlformats.org/officeDocument/2006/relationships/slideLayout" Target="../slideLayouts/slideLayout225.xml"/><Relationship Id="rId267" Type="http://schemas.openxmlformats.org/officeDocument/2006/relationships/slideLayout" Target="../slideLayouts/slideLayout267.xml"/><Relationship Id="rId432" Type="http://schemas.openxmlformats.org/officeDocument/2006/relationships/slideLayout" Target="../slideLayouts/slideLayout432.xml"/><Relationship Id="rId474" Type="http://schemas.openxmlformats.org/officeDocument/2006/relationships/slideLayout" Target="../slideLayouts/slideLayout474.xml"/><Relationship Id="rId127" Type="http://schemas.openxmlformats.org/officeDocument/2006/relationships/slideLayout" Target="../slideLayouts/slideLayout127.xml"/><Relationship Id="rId681" Type="http://schemas.openxmlformats.org/officeDocument/2006/relationships/slideLayout" Target="../slideLayouts/slideLayout681.xml"/><Relationship Id="rId31" Type="http://schemas.openxmlformats.org/officeDocument/2006/relationships/slideLayout" Target="../slideLayouts/slideLayout31.xml"/><Relationship Id="rId73" Type="http://schemas.openxmlformats.org/officeDocument/2006/relationships/slideLayout" Target="../slideLayouts/slideLayout73.xml"/><Relationship Id="rId169" Type="http://schemas.openxmlformats.org/officeDocument/2006/relationships/slideLayout" Target="../slideLayouts/slideLayout169.xml"/><Relationship Id="rId334" Type="http://schemas.openxmlformats.org/officeDocument/2006/relationships/slideLayout" Target="../slideLayouts/slideLayout334.xml"/><Relationship Id="rId376" Type="http://schemas.openxmlformats.org/officeDocument/2006/relationships/slideLayout" Target="../slideLayouts/slideLayout376.xml"/><Relationship Id="rId541" Type="http://schemas.openxmlformats.org/officeDocument/2006/relationships/slideLayout" Target="../slideLayouts/slideLayout541.xml"/><Relationship Id="rId583" Type="http://schemas.openxmlformats.org/officeDocument/2006/relationships/slideLayout" Target="../slideLayouts/slideLayout583.xml"/><Relationship Id="rId639" Type="http://schemas.openxmlformats.org/officeDocument/2006/relationships/slideLayout" Target="../slideLayouts/slideLayout639.xml"/><Relationship Id="rId4" Type="http://schemas.openxmlformats.org/officeDocument/2006/relationships/slideLayout" Target="../slideLayouts/slideLayout4.xml"/><Relationship Id="rId180" Type="http://schemas.openxmlformats.org/officeDocument/2006/relationships/slideLayout" Target="../slideLayouts/slideLayout180.xml"/><Relationship Id="rId236" Type="http://schemas.openxmlformats.org/officeDocument/2006/relationships/slideLayout" Target="../slideLayouts/slideLayout236.xml"/><Relationship Id="rId278" Type="http://schemas.openxmlformats.org/officeDocument/2006/relationships/slideLayout" Target="../slideLayouts/slideLayout278.xml"/><Relationship Id="rId401" Type="http://schemas.openxmlformats.org/officeDocument/2006/relationships/slideLayout" Target="../slideLayouts/slideLayout401.xml"/><Relationship Id="rId443" Type="http://schemas.openxmlformats.org/officeDocument/2006/relationships/slideLayout" Target="../slideLayouts/slideLayout443.xml"/><Relationship Id="rId650" Type="http://schemas.openxmlformats.org/officeDocument/2006/relationships/slideLayout" Target="../slideLayouts/slideLayout650.xml"/><Relationship Id="rId303" Type="http://schemas.openxmlformats.org/officeDocument/2006/relationships/slideLayout" Target="../slideLayouts/slideLayout303.xml"/><Relationship Id="rId485" Type="http://schemas.openxmlformats.org/officeDocument/2006/relationships/slideLayout" Target="../slideLayouts/slideLayout485.xml"/><Relationship Id="rId42" Type="http://schemas.openxmlformats.org/officeDocument/2006/relationships/slideLayout" Target="../slideLayouts/slideLayout42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345" Type="http://schemas.openxmlformats.org/officeDocument/2006/relationships/slideLayout" Target="../slideLayouts/slideLayout345.xml"/><Relationship Id="rId387" Type="http://schemas.openxmlformats.org/officeDocument/2006/relationships/slideLayout" Target="../slideLayouts/slideLayout387.xml"/><Relationship Id="rId510" Type="http://schemas.openxmlformats.org/officeDocument/2006/relationships/slideLayout" Target="../slideLayouts/slideLayout510.xml"/><Relationship Id="rId552" Type="http://schemas.openxmlformats.org/officeDocument/2006/relationships/slideLayout" Target="../slideLayouts/slideLayout552.xml"/><Relationship Id="rId594" Type="http://schemas.openxmlformats.org/officeDocument/2006/relationships/slideLayout" Target="../slideLayouts/slideLayout594.xml"/><Relationship Id="rId608" Type="http://schemas.openxmlformats.org/officeDocument/2006/relationships/slideLayout" Target="../slideLayouts/slideLayout608.xml"/><Relationship Id="rId191" Type="http://schemas.openxmlformats.org/officeDocument/2006/relationships/slideLayout" Target="../slideLayouts/slideLayout191.xml"/><Relationship Id="rId205" Type="http://schemas.openxmlformats.org/officeDocument/2006/relationships/slideLayout" Target="../slideLayouts/slideLayout205.xml"/><Relationship Id="rId247" Type="http://schemas.openxmlformats.org/officeDocument/2006/relationships/slideLayout" Target="../slideLayouts/slideLayout247.xml"/><Relationship Id="rId412" Type="http://schemas.openxmlformats.org/officeDocument/2006/relationships/slideLayout" Target="../slideLayouts/slideLayout412.xml"/><Relationship Id="rId107" Type="http://schemas.openxmlformats.org/officeDocument/2006/relationships/slideLayout" Target="../slideLayouts/slideLayout107.xml"/><Relationship Id="rId289" Type="http://schemas.openxmlformats.org/officeDocument/2006/relationships/slideLayout" Target="../slideLayouts/slideLayout289.xml"/><Relationship Id="rId454" Type="http://schemas.openxmlformats.org/officeDocument/2006/relationships/slideLayout" Target="../slideLayouts/slideLayout454.xml"/><Relationship Id="rId496" Type="http://schemas.openxmlformats.org/officeDocument/2006/relationships/slideLayout" Target="../slideLayouts/slideLayout496.xml"/><Relationship Id="rId661" Type="http://schemas.openxmlformats.org/officeDocument/2006/relationships/slideLayout" Target="../slideLayouts/slideLayout661.xml"/><Relationship Id="rId11" Type="http://schemas.openxmlformats.org/officeDocument/2006/relationships/slideLayout" Target="../slideLayouts/slideLayout11.xml"/><Relationship Id="rId53" Type="http://schemas.openxmlformats.org/officeDocument/2006/relationships/slideLayout" Target="../slideLayouts/slideLayout53.xml"/><Relationship Id="rId149" Type="http://schemas.openxmlformats.org/officeDocument/2006/relationships/slideLayout" Target="../slideLayouts/slideLayout149.xml"/><Relationship Id="rId314" Type="http://schemas.openxmlformats.org/officeDocument/2006/relationships/slideLayout" Target="../slideLayouts/slideLayout314.xml"/><Relationship Id="rId356" Type="http://schemas.openxmlformats.org/officeDocument/2006/relationships/slideLayout" Target="../slideLayouts/slideLayout356.xml"/><Relationship Id="rId398" Type="http://schemas.openxmlformats.org/officeDocument/2006/relationships/slideLayout" Target="../slideLayouts/slideLayout398.xml"/><Relationship Id="rId521" Type="http://schemas.openxmlformats.org/officeDocument/2006/relationships/slideLayout" Target="../slideLayouts/slideLayout521.xml"/><Relationship Id="rId563" Type="http://schemas.openxmlformats.org/officeDocument/2006/relationships/slideLayout" Target="../slideLayouts/slideLayout563.xml"/><Relationship Id="rId619" Type="http://schemas.openxmlformats.org/officeDocument/2006/relationships/slideLayout" Target="../slideLayouts/slideLayout619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216" Type="http://schemas.openxmlformats.org/officeDocument/2006/relationships/slideLayout" Target="../slideLayouts/slideLayout216.xml"/><Relationship Id="rId423" Type="http://schemas.openxmlformats.org/officeDocument/2006/relationships/slideLayout" Target="../slideLayouts/slideLayout423.xml"/><Relationship Id="rId258" Type="http://schemas.openxmlformats.org/officeDocument/2006/relationships/slideLayout" Target="../slideLayouts/slideLayout258.xml"/><Relationship Id="rId465" Type="http://schemas.openxmlformats.org/officeDocument/2006/relationships/slideLayout" Target="../slideLayouts/slideLayout465.xml"/><Relationship Id="rId630" Type="http://schemas.openxmlformats.org/officeDocument/2006/relationships/slideLayout" Target="../slideLayouts/slideLayout630.xml"/><Relationship Id="rId672" Type="http://schemas.openxmlformats.org/officeDocument/2006/relationships/slideLayout" Target="../slideLayouts/slideLayout672.xml"/><Relationship Id="rId22" Type="http://schemas.openxmlformats.org/officeDocument/2006/relationships/slideLayout" Target="../slideLayouts/slideLayout22.xml"/><Relationship Id="rId64" Type="http://schemas.openxmlformats.org/officeDocument/2006/relationships/slideLayout" Target="../slideLayouts/slideLayout64.xml"/><Relationship Id="rId118" Type="http://schemas.openxmlformats.org/officeDocument/2006/relationships/slideLayout" Target="../slideLayouts/slideLayout118.xml"/><Relationship Id="rId325" Type="http://schemas.openxmlformats.org/officeDocument/2006/relationships/slideLayout" Target="../slideLayouts/slideLayout325.xml"/><Relationship Id="rId367" Type="http://schemas.openxmlformats.org/officeDocument/2006/relationships/slideLayout" Target="../slideLayouts/slideLayout367.xml"/><Relationship Id="rId532" Type="http://schemas.openxmlformats.org/officeDocument/2006/relationships/slideLayout" Target="../slideLayouts/slideLayout532.xml"/><Relationship Id="rId574" Type="http://schemas.openxmlformats.org/officeDocument/2006/relationships/slideLayout" Target="../slideLayouts/slideLayout574.xml"/><Relationship Id="rId171" Type="http://schemas.openxmlformats.org/officeDocument/2006/relationships/slideLayout" Target="../slideLayouts/slideLayout171.xml"/><Relationship Id="rId227" Type="http://schemas.openxmlformats.org/officeDocument/2006/relationships/slideLayout" Target="../slideLayouts/slideLayout227.xml"/><Relationship Id="rId269" Type="http://schemas.openxmlformats.org/officeDocument/2006/relationships/slideLayout" Target="../slideLayouts/slideLayout269.xml"/><Relationship Id="rId434" Type="http://schemas.openxmlformats.org/officeDocument/2006/relationships/slideLayout" Target="../slideLayouts/slideLayout434.xml"/><Relationship Id="rId476" Type="http://schemas.openxmlformats.org/officeDocument/2006/relationships/slideLayout" Target="../slideLayouts/slideLayout476.xml"/><Relationship Id="rId641" Type="http://schemas.openxmlformats.org/officeDocument/2006/relationships/slideLayout" Target="../slideLayouts/slideLayout641.xml"/><Relationship Id="rId683" Type="http://schemas.openxmlformats.org/officeDocument/2006/relationships/slideLayout" Target="../slideLayouts/slideLayout683.xml"/><Relationship Id="rId33" Type="http://schemas.openxmlformats.org/officeDocument/2006/relationships/slideLayout" Target="../slideLayouts/slideLayout33.xml"/><Relationship Id="rId129" Type="http://schemas.openxmlformats.org/officeDocument/2006/relationships/slideLayout" Target="../slideLayouts/slideLayout129.xml"/><Relationship Id="rId280" Type="http://schemas.openxmlformats.org/officeDocument/2006/relationships/slideLayout" Target="../slideLayouts/slideLayout280.xml"/><Relationship Id="rId336" Type="http://schemas.openxmlformats.org/officeDocument/2006/relationships/slideLayout" Target="../slideLayouts/slideLayout336.xml"/><Relationship Id="rId501" Type="http://schemas.openxmlformats.org/officeDocument/2006/relationships/slideLayout" Target="../slideLayouts/slideLayout501.xml"/><Relationship Id="rId543" Type="http://schemas.openxmlformats.org/officeDocument/2006/relationships/slideLayout" Target="../slideLayouts/slideLayout543.xml"/><Relationship Id="rId75" Type="http://schemas.openxmlformats.org/officeDocument/2006/relationships/slideLayout" Target="../slideLayouts/slideLayout75.xml"/><Relationship Id="rId140" Type="http://schemas.openxmlformats.org/officeDocument/2006/relationships/slideLayout" Target="../slideLayouts/slideLayout140.xml"/><Relationship Id="rId182" Type="http://schemas.openxmlformats.org/officeDocument/2006/relationships/slideLayout" Target="../slideLayouts/slideLayout182.xml"/><Relationship Id="rId378" Type="http://schemas.openxmlformats.org/officeDocument/2006/relationships/slideLayout" Target="../slideLayouts/slideLayout378.xml"/><Relationship Id="rId403" Type="http://schemas.openxmlformats.org/officeDocument/2006/relationships/slideLayout" Target="../slideLayouts/slideLayout403.xml"/><Relationship Id="rId585" Type="http://schemas.openxmlformats.org/officeDocument/2006/relationships/slideLayout" Target="../slideLayouts/slideLayout585.xml"/><Relationship Id="rId6" Type="http://schemas.openxmlformats.org/officeDocument/2006/relationships/slideLayout" Target="../slideLayouts/slideLayout6.xml"/><Relationship Id="rId238" Type="http://schemas.openxmlformats.org/officeDocument/2006/relationships/slideLayout" Target="../slideLayouts/slideLayout238.xml"/><Relationship Id="rId445" Type="http://schemas.openxmlformats.org/officeDocument/2006/relationships/slideLayout" Target="../slideLayouts/slideLayout445.xml"/><Relationship Id="rId487" Type="http://schemas.openxmlformats.org/officeDocument/2006/relationships/slideLayout" Target="../slideLayouts/slideLayout487.xml"/><Relationship Id="rId610" Type="http://schemas.openxmlformats.org/officeDocument/2006/relationships/slideLayout" Target="../slideLayouts/slideLayout610.xml"/><Relationship Id="rId652" Type="http://schemas.openxmlformats.org/officeDocument/2006/relationships/slideLayout" Target="../slideLayouts/slideLayout652.xml"/><Relationship Id="rId291" Type="http://schemas.openxmlformats.org/officeDocument/2006/relationships/slideLayout" Target="../slideLayouts/slideLayout291.xml"/><Relationship Id="rId305" Type="http://schemas.openxmlformats.org/officeDocument/2006/relationships/slideLayout" Target="../slideLayouts/slideLayout305.xml"/><Relationship Id="rId347" Type="http://schemas.openxmlformats.org/officeDocument/2006/relationships/slideLayout" Target="../slideLayouts/slideLayout347.xml"/><Relationship Id="rId512" Type="http://schemas.openxmlformats.org/officeDocument/2006/relationships/slideLayout" Target="../slideLayouts/slideLayout512.xml"/><Relationship Id="rId44" Type="http://schemas.openxmlformats.org/officeDocument/2006/relationships/slideLayout" Target="../slideLayouts/slideLayout44.xml"/><Relationship Id="rId86" Type="http://schemas.openxmlformats.org/officeDocument/2006/relationships/slideLayout" Target="../slideLayouts/slideLayout86.xml"/><Relationship Id="rId151" Type="http://schemas.openxmlformats.org/officeDocument/2006/relationships/slideLayout" Target="../slideLayouts/slideLayout151.xml"/><Relationship Id="rId389" Type="http://schemas.openxmlformats.org/officeDocument/2006/relationships/slideLayout" Target="../slideLayouts/slideLayout389.xml"/><Relationship Id="rId554" Type="http://schemas.openxmlformats.org/officeDocument/2006/relationships/slideLayout" Target="../slideLayouts/slideLayout554.xml"/><Relationship Id="rId596" Type="http://schemas.openxmlformats.org/officeDocument/2006/relationships/slideLayout" Target="../slideLayouts/slideLayout596.xml"/><Relationship Id="rId193" Type="http://schemas.openxmlformats.org/officeDocument/2006/relationships/slideLayout" Target="../slideLayouts/slideLayout193.xml"/><Relationship Id="rId207" Type="http://schemas.openxmlformats.org/officeDocument/2006/relationships/slideLayout" Target="../slideLayouts/slideLayout207.xml"/><Relationship Id="rId249" Type="http://schemas.openxmlformats.org/officeDocument/2006/relationships/slideLayout" Target="../slideLayouts/slideLayout249.xml"/><Relationship Id="rId414" Type="http://schemas.openxmlformats.org/officeDocument/2006/relationships/slideLayout" Target="../slideLayouts/slideLayout414.xml"/><Relationship Id="rId456" Type="http://schemas.openxmlformats.org/officeDocument/2006/relationships/slideLayout" Target="../slideLayouts/slideLayout456.xml"/><Relationship Id="rId498" Type="http://schemas.openxmlformats.org/officeDocument/2006/relationships/slideLayout" Target="../slideLayouts/slideLayout498.xml"/><Relationship Id="rId621" Type="http://schemas.openxmlformats.org/officeDocument/2006/relationships/slideLayout" Target="../slideLayouts/slideLayout621.xml"/><Relationship Id="rId663" Type="http://schemas.openxmlformats.org/officeDocument/2006/relationships/slideLayout" Target="../slideLayouts/slideLayout663.xml"/><Relationship Id="rId13" Type="http://schemas.openxmlformats.org/officeDocument/2006/relationships/slideLayout" Target="../slideLayouts/slideLayout13.xml"/><Relationship Id="rId109" Type="http://schemas.openxmlformats.org/officeDocument/2006/relationships/slideLayout" Target="../slideLayouts/slideLayout109.xml"/><Relationship Id="rId260" Type="http://schemas.openxmlformats.org/officeDocument/2006/relationships/slideLayout" Target="../slideLayouts/slideLayout260.xml"/><Relationship Id="rId316" Type="http://schemas.openxmlformats.org/officeDocument/2006/relationships/slideLayout" Target="../slideLayouts/slideLayout316.xml"/><Relationship Id="rId523" Type="http://schemas.openxmlformats.org/officeDocument/2006/relationships/slideLayout" Target="../slideLayouts/slideLayout523.xml"/><Relationship Id="rId55" Type="http://schemas.openxmlformats.org/officeDocument/2006/relationships/slideLayout" Target="../slideLayouts/slideLayout55.xml"/><Relationship Id="rId97" Type="http://schemas.openxmlformats.org/officeDocument/2006/relationships/slideLayout" Target="../slideLayouts/slideLayout97.xml"/><Relationship Id="rId120" Type="http://schemas.openxmlformats.org/officeDocument/2006/relationships/slideLayout" Target="../slideLayouts/slideLayout120.xml"/><Relationship Id="rId358" Type="http://schemas.openxmlformats.org/officeDocument/2006/relationships/slideLayout" Target="../slideLayouts/slideLayout358.xml"/><Relationship Id="rId565" Type="http://schemas.openxmlformats.org/officeDocument/2006/relationships/slideLayout" Target="../slideLayouts/slideLayout565.xml"/><Relationship Id="rId162" Type="http://schemas.openxmlformats.org/officeDocument/2006/relationships/slideLayout" Target="../slideLayouts/slideLayout162.xml"/><Relationship Id="rId218" Type="http://schemas.openxmlformats.org/officeDocument/2006/relationships/slideLayout" Target="../slideLayouts/slideLayout218.xml"/><Relationship Id="rId425" Type="http://schemas.openxmlformats.org/officeDocument/2006/relationships/slideLayout" Target="../slideLayouts/slideLayout425.xml"/><Relationship Id="rId467" Type="http://schemas.openxmlformats.org/officeDocument/2006/relationships/slideLayout" Target="../slideLayouts/slideLayout467.xml"/><Relationship Id="rId632" Type="http://schemas.openxmlformats.org/officeDocument/2006/relationships/slideLayout" Target="../slideLayouts/slideLayout632.xml"/><Relationship Id="rId271" Type="http://schemas.openxmlformats.org/officeDocument/2006/relationships/slideLayout" Target="../slideLayouts/slideLayout271.xml"/><Relationship Id="rId674" Type="http://schemas.openxmlformats.org/officeDocument/2006/relationships/slideLayout" Target="../slideLayouts/slideLayout674.xml"/><Relationship Id="rId24" Type="http://schemas.openxmlformats.org/officeDocument/2006/relationships/slideLayout" Target="../slideLayouts/slideLayout24.xml"/><Relationship Id="rId66" Type="http://schemas.openxmlformats.org/officeDocument/2006/relationships/slideLayout" Target="../slideLayouts/slideLayout66.xml"/><Relationship Id="rId131" Type="http://schemas.openxmlformats.org/officeDocument/2006/relationships/slideLayout" Target="../slideLayouts/slideLayout131.xml"/><Relationship Id="rId327" Type="http://schemas.openxmlformats.org/officeDocument/2006/relationships/slideLayout" Target="../slideLayouts/slideLayout327.xml"/><Relationship Id="rId369" Type="http://schemas.openxmlformats.org/officeDocument/2006/relationships/slideLayout" Target="../slideLayouts/slideLayout369.xml"/><Relationship Id="rId534" Type="http://schemas.openxmlformats.org/officeDocument/2006/relationships/slideLayout" Target="../slideLayouts/slideLayout534.xml"/><Relationship Id="rId576" Type="http://schemas.openxmlformats.org/officeDocument/2006/relationships/slideLayout" Target="../slideLayouts/slideLayout576.xml"/><Relationship Id="rId173" Type="http://schemas.openxmlformats.org/officeDocument/2006/relationships/slideLayout" Target="../slideLayouts/slideLayout173.xml"/><Relationship Id="rId229" Type="http://schemas.openxmlformats.org/officeDocument/2006/relationships/slideLayout" Target="../slideLayouts/slideLayout229.xml"/><Relationship Id="rId380" Type="http://schemas.openxmlformats.org/officeDocument/2006/relationships/slideLayout" Target="../slideLayouts/slideLayout380.xml"/><Relationship Id="rId436" Type="http://schemas.openxmlformats.org/officeDocument/2006/relationships/slideLayout" Target="../slideLayouts/slideLayout436.xml"/><Relationship Id="rId601" Type="http://schemas.openxmlformats.org/officeDocument/2006/relationships/slideLayout" Target="../slideLayouts/slideLayout601.xml"/><Relationship Id="rId643" Type="http://schemas.openxmlformats.org/officeDocument/2006/relationships/slideLayout" Target="../slideLayouts/slideLayout643.xml"/><Relationship Id="rId240" Type="http://schemas.openxmlformats.org/officeDocument/2006/relationships/slideLayout" Target="../slideLayouts/slideLayout240.xml"/><Relationship Id="rId478" Type="http://schemas.openxmlformats.org/officeDocument/2006/relationships/slideLayout" Target="../slideLayouts/slideLayout478.xml"/><Relationship Id="rId685" Type="http://schemas.openxmlformats.org/officeDocument/2006/relationships/slideLayout" Target="../slideLayouts/slideLayout685.xml"/><Relationship Id="rId35" Type="http://schemas.openxmlformats.org/officeDocument/2006/relationships/slideLayout" Target="../slideLayouts/slideLayout35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282" Type="http://schemas.openxmlformats.org/officeDocument/2006/relationships/slideLayout" Target="../slideLayouts/slideLayout282.xml"/><Relationship Id="rId338" Type="http://schemas.openxmlformats.org/officeDocument/2006/relationships/slideLayout" Target="../slideLayouts/slideLayout338.xml"/><Relationship Id="rId503" Type="http://schemas.openxmlformats.org/officeDocument/2006/relationships/slideLayout" Target="../slideLayouts/slideLayout503.xml"/><Relationship Id="rId545" Type="http://schemas.openxmlformats.org/officeDocument/2006/relationships/slideLayout" Target="../slideLayouts/slideLayout545.xml"/><Relationship Id="rId587" Type="http://schemas.openxmlformats.org/officeDocument/2006/relationships/slideLayout" Target="../slideLayouts/slideLayout587.xml"/><Relationship Id="rId8" Type="http://schemas.openxmlformats.org/officeDocument/2006/relationships/slideLayout" Target="../slideLayouts/slideLayout8.xml"/><Relationship Id="rId142" Type="http://schemas.openxmlformats.org/officeDocument/2006/relationships/slideLayout" Target="../slideLayouts/slideLayout142.xml"/><Relationship Id="rId184" Type="http://schemas.openxmlformats.org/officeDocument/2006/relationships/slideLayout" Target="../slideLayouts/slideLayout184.xml"/><Relationship Id="rId391" Type="http://schemas.openxmlformats.org/officeDocument/2006/relationships/slideLayout" Target="../slideLayouts/slideLayout391.xml"/><Relationship Id="rId405" Type="http://schemas.openxmlformats.org/officeDocument/2006/relationships/slideLayout" Target="../slideLayouts/slideLayout405.xml"/><Relationship Id="rId447" Type="http://schemas.openxmlformats.org/officeDocument/2006/relationships/slideLayout" Target="../slideLayouts/slideLayout447.xml"/><Relationship Id="rId612" Type="http://schemas.openxmlformats.org/officeDocument/2006/relationships/slideLayout" Target="../slideLayouts/slideLayout612.xml"/><Relationship Id="rId251" Type="http://schemas.openxmlformats.org/officeDocument/2006/relationships/slideLayout" Target="../slideLayouts/slideLayout251.xml"/><Relationship Id="rId489" Type="http://schemas.openxmlformats.org/officeDocument/2006/relationships/slideLayout" Target="../slideLayouts/slideLayout489.xml"/><Relationship Id="rId654" Type="http://schemas.openxmlformats.org/officeDocument/2006/relationships/slideLayout" Target="../slideLayouts/slideLayout654.xml"/><Relationship Id="rId46" Type="http://schemas.openxmlformats.org/officeDocument/2006/relationships/slideLayout" Target="../slideLayouts/slideLayout46.xml"/><Relationship Id="rId293" Type="http://schemas.openxmlformats.org/officeDocument/2006/relationships/slideLayout" Target="../slideLayouts/slideLayout293.xml"/><Relationship Id="rId307" Type="http://schemas.openxmlformats.org/officeDocument/2006/relationships/slideLayout" Target="../slideLayouts/slideLayout307.xml"/><Relationship Id="rId349" Type="http://schemas.openxmlformats.org/officeDocument/2006/relationships/slideLayout" Target="../slideLayouts/slideLayout349.xml"/><Relationship Id="rId514" Type="http://schemas.openxmlformats.org/officeDocument/2006/relationships/slideLayout" Target="../slideLayouts/slideLayout514.xml"/><Relationship Id="rId556" Type="http://schemas.openxmlformats.org/officeDocument/2006/relationships/slideLayout" Target="../slideLayouts/slideLayout556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53" Type="http://schemas.openxmlformats.org/officeDocument/2006/relationships/slideLayout" Target="../slideLayouts/slideLayout153.xml"/><Relationship Id="rId195" Type="http://schemas.openxmlformats.org/officeDocument/2006/relationships/slideLayout" Target="../slideLayouts/slideLayout195.xml"/><Relationship Id="rId209" Type="http://schemas.openxmlformats.org/officeDocument/2006/relationships/slideLayout" Target="../slideLayouts/slideLayout209.xml"/><Relationship Id="rId360" Type="http://schemas.openxmlformats.org/officeDocument/2006/relationships/slideLayout" Target="../slideLayouts/slideLayout360.xml"/><Relationship Id="rId416" Type="http://schemas.openxmlformats.org/officeDocument/2006/relationships/slideLayout" Target="../slideLayouts/slideLayout416.xml"/><Relationship Id="rId598" Type="http://schemas.openxmlformats.org/officeDocument/2006/relationships/slideLayout" Target="../slideLayouts/slideLayout598.xml"/><Relationship Id="rId220" Type="http://schemas.openxmlformats.org/officeDocument/2006/relationships/slideLayout" Target="../slideLayouts/slideLayout220.xml"/><Relationship Id="rId458" Type="http://schemas.openxmlformats.org/officeDocument/2006/relationships/slideLayout" Target="../slideLayouts/slideLayout458.xml"/><Relationship Id="rId623" Type="http://schemas.openxmlformats.org/officeDocument/2006/relationships/slideLayout" Target="../slideLayouts/slideLayout623.xml"/><Relationship Id="rId665" Type="http://schemas.openxmlformats.org/officeDocument/2006/relationships/slideLayout" Target="../slideLayouts/slideLayout665.xml"/><Relationship Id="rId15" Type="http://schemas.openxmlformats.org/officeDocument/2006/relationships/slideLayout" Target="../slideLayouts/slideLayout15.xml"/><Relationship Id="rId57" Type="http://schemas.openxmlformats.org/officeDocument/2006/relationships/slideLayout" Target="../slideLayouts/slideLayout57.xml"/><Relationship Id="rId262" Type="http://schemas.openxmlformats.org/officeDocument/2006/relationships/slideLayout" Target="../slideLayouts/slideLayout262.xml"/><Relationship Id="rId318" Type="http://schemas.openxmlformats.org/officeDocument/2006/relationships/slideLayout" Target="../slideLayouts/slideLayout318.xml"/><Relationship Id="rId525" Type="http://schemas.openxmlformats.org/officeDocument/2006/relationships/slideLayout" Target="../slideLayouts/slideLayout525.xml"/><Relationship Id="rId567" Type="http://schemas.openxmlformats.org/officeDocument/2006/relationships/slideLayout" Target="../slideLayouts/slideLayout567.xml"/><Relationship Id="rId99" Type="http://schemas.openxmlformats.org/officeDocument/2006/relationships/slideLayout" Target="../slideLayouts/slideLayout99.xml"/><Relationship Id="rId122" Type="http://schemas.openxmlformats.org/officeDocument/2006/relationships/slideLayout" Target="../slideLayouts/slideLayout122.xml"/><Relationship Id="rId164" Type="http://schemas.openxmlformats.org/officeDocument/2006/relationships/slideLayout" Target="../slideLayouts/slideLayout164.xml"/><Relationship Id="rId371" Type="http://schemas.openxmlformats.org/officeDocument/2006/relationships/slideLayout" Target="../slideLayouts/slideLayout371.xml"/><Relationship Id="rId427" Type="http://schemas.openxmlformats.org/officeDocument/2006/relationships/slideLayout" Target="../slideLayouts/slideLayout427.xml"/><Relationship Id="rId469" Type="http://schemas.openxmlformats.org/officeDocument/2006/relationships/slideLayout" Target="../slideLayouts/slideLayout469.xml"/><Relationship Id="rId634" Type="http://schemas.openxmlformats.org/officeDocument/2006/relationships/slideLayout" Target="../slideLayouts/slideLayout634.xml"/><Relationship Id="rId676" Type="http://schemas.openxmlformats.org/officeDocument/2006/relationships/slideLayout" Target="../slideLayouts/slideLayout676.xml"/><Relationship Id="rId26" Type="http://schemas.openxmlformats.org/officeDocument/2006/relationships/slideLayout" Target="../slideLayouts/slideLayout26.xml"/><Relationship Id="rId231" Type="http://schemas.openxmlformats.org/officeDocument/2006/relationships/slideLayout" Target="../slideLayouts/slideLayout231.xml"/><Relationship Id="rId273" Type="http://schemas.openxmlformats.org/officeDocument/2006/relationships/slideLayout" Target="../slideLayouts/slideLayout273.xml"/><Relationship Id="rId329" Type="http://schemas.openxmlformats.org/officeDocument/2006/relationships/slideLayout" Target="../slideLayouts/slideLayout329.xml"/><Relationship Id="rId480" Type="http://schemas.openxmlformats.org/officeDocument/2006/relationships/slideLayout" Target="../slideLayouts/slideLayout480.xml"/><Relationship Id="rId536" Type="http://schemas.openxmlformats.org/officeDocument/2006/relationships/slideLayout" Target="../slideLayouts/slideLayout536.xml"/><Relationship Id="rId68" Type="http://schemas.openxmlformats.org/officeDocument/2006/relationships/slideLayout" Target="../slideLayouts/slideLayout68.xml"/><Relationship Id="rId133" Type="http://schemas.openxmlformats.org/officeDocument/2006/relationships/slideLayout" Target="../slideLayouts/slideLayout133.xml"/><Relationship Id="rId175" Type="http://schemas.openxmlformats.org/officeDocument/2006/relationships/slideLayout" Target="../slideLayouts/slideLayout175.xml"/><Relationship Id="rId340" Type="http://schemas.openxmlformats.org/officeDocument/2006/relationships/slideLayout" Target="../slideLayouts/slideLayout340.xml"/><Relationship Id="rId578" Type="http://schemas.openxmlformats.org/officeDocument/2006/relationships/slideLayout" Target="../slideLayouts/slideLayout578.xml"/><Relationship Id="rId200" Type="http://schemas.openxmlformats.org/officeDocument/2006/relationships/slideLayout" Target="../slideLayouts/slideLayout200.xml"/><Relationship Id="rId382" Type="http://schemas.openxmlformats.org/officeDocument/2006/relationships/slideLayout" Target="../slideLayouts/slideLayout382.xml"/><Relationship Id="rId438" Type="http://schemas.openxmlformats.org/officeDocument/2006/relationships/slideLayout" Target="../slideLayouts/slideLayout438.xml"/><Relationship Id="rId603" Type="http://schemas.openxmlformats.org/officeDocument/2006/relationships/slideLayout" Target="../slideLayouts/slideLayout603.xml"/><Relationship Id="rId645" Type="http://schemas.openxmlformats.org/officeDocument/2006/relationships/slideLayout" Target="../slideLayouts/slideLayout645.xml"/><Relationship Id="rId242" Type="http://schemas.openxmlformats.org/officeDocument/2006/relationships/slideLayout" Target="../slideLayouts/slideLayout242.xml"/><Relationship Id="rId284" Type="http://schemas.openxmlformats.org/officeDocument/2006/relationships/slideLayout" Target="../slideLayouts/slideLayout284.xml"/><Relationship Id="rId491" Type="http://schemas.openxmlformats.org/officeDocument/2006/relationships/slideLayout" Target="../slideLayouts/slideLayout491.xml"/><Relationship Id="rId505" Type="http://schemas.openxmlformats.org/officeDocument/2006/relationships/slideLayout" Target="../slideLayouts/slideLayout505.xml"/><Relationship Id="rId37" Type="http://schemas.openxmlformats.org/officeDocument/2006/relationships/slideLayout" Target="../slideLayouts/slideLayout37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44" Type="http://schemas.openxmlformats.org/officeDocument/2006/relationships/slideLayout" Target="../slideLayouts/slideLayout144.xml"/><Relationship Id="rId547" Type="http://schemas.openxmlformats.org/officeDocument/2006/relationships/slideLayout" Target="../slideLayouts/slideLayout547.xml"/><Relationship Id="rId589" Type="http://schemas.openxmlformats.org/officeDocument/2006/relationships/slideLayout" Target="../slideLayouts/slideLayout589.xml"/><Relationship Id="rId90" Type="http://schemas.openxmlformats.org/officeDocument/2006/relationships/slideLayout" Target="../slideLayouts/slideLayout90.xml"/><Relationship Id="rId186" Type="http://schemas.openxmlformats.org/officeDocument/2006/relationships/slideLayout" Target="../slideLayouts/slideLayout186.xml"/><Relationship Id="rId351" Type="http://schemas.openxmlformats.org/officeDocument/2006/relationships/slideLayout" Target="../slideLayouts/slideLayout351.xml"/><Relationship Id="rId393" Type="http://schemas.openxmlformats.org/officeDocument/2006/relationships/slideLayout" Target="../slideLayouts/slideLayout393.xml"/><Relationship Id="rId407" Type="http://schemas.openxmlformats.org/officeDocument/2006/relationships/slideLayout" Target="../slideLayouts/slideLayout407.xml"/><Relationship Id="rId449" Type="http://schemas.openxmlformats.org/officeDocument/2006/relationships/slideLayout" Target="../slideLayouts/slideLayout449.xml"/><Relationship Id="rId614" Type="http://schemas.openxmlformats.org/officeDocument/2006/relationships/slideLayout" Target="../slideLayouts/slideLayout614.xml"/><Relationship Id="rId656" Type="http://schemas.openxmlformats.org/officeDocument/2006/relationships/slideLayout" Target="../slideLayouts/slideLayout656.xml"/><Relationship Id="rId211" Type="http://schemas.openxmlformats.org/officeDocument/2006/relationships/slideLayout" Target="../slideLayouts/slideLayout211.xml"/><Relationship Id="rId253" Type="http://schemas.openxmlformats.org/officeDocument/2006/relationships/slideLayout" Target="../slideLayouts/slideLayout253.xml"/><Relationship Id="rId295" Type="http://schemas.openxmlformats.org/officeDocument/2006/relationships/slideLayout" Target="../slideLayouts/slideLayout295.xml"/><Relationship Id="rId309" Type="http://schemas.openxmlformats.org/officeDocument/2006/relationships/slideLayout" Target="../slideLayouts/slideLayout309.xml"/><Relationship Id="rId460" Type="http://schemas.openxmlformats.org/officeDocument/2006/relationships/slideLayout" Target="../slideLayouts/slideLayout460.xml"/><Relationship Id="rId516" Type="http://schemas.openxmlformats.org/officeDocument/2006/relationships/slideLayout" Target="../slideLayouts/slideLayout516.xml"/><Relationship Id="rId48" Type="http://schemas.openxmlformats.org/officeDocument/2006/relationships/slideLayout" Target="../slideLayouts/slideLayout48.xml"/><Relationship Id="rId113" Type="http://schemas.openxmlformats.org/officeDocument/2006/relationships/slideLayout" Target="../slideLayouts/slideLayout113.xml"/><Relationship Id="rId320" Type="http://schemas.openxmlformats.org/officeDocument/2006/relationships/slideLayout" Target="../slideLayouts/slideLayout320.xml"/><Relationship Id="rId558" Type="http://schemas.openxmlformats.org/officeDocument/2006/relationships/slideLayout" Target="../slideLayouts/slideLayout558.xml"/><Relationship Id="rId155" Type="http://schemas.openxmlformats.org/officeDocument/2006/relationships/slideLayout" Target="../slideLayouts/slideLayout155.xml"/><Relationship Id="rId197" Type="http://schemas.openxmlformats.org/officeDocument/2006/relationships/slideLayout" Target="../slideLayouts/slideLayout197.xml"/><Relationship Id="rId362" Type="http://schemas.openxmlformats.org/officeDocument/2006/relationships/slideLayout" Target="../slideLayouts/slideLayout362.xml"/><Relationship Id="rId418" Type="http://schemas.openxmlformats.org/officeDocument/2006/relationships/slideLayout" Target="../slideLayouts/slideLayout418.xml"/><Relationship Id="rId625" Type="http://schemas.openxmlformats.org/officeDocument/2006/relationships/slideLayout" Target="../slideLayouts/slideLayout625.xml"/><Relationship Id="rId222" Type="http://schemas.openxmlformats.org/officeDocument/2006/relationships/slideLayout" Target="../slideLayouts/slideLayout222.xml"/><Relationship Id="rId264" Type="http://schemas.openxmlformats.org/officeDocument/2006/relationships/slideLayout" Target="../slideLayouts/slideLayout264.xml"/><Relationship Id="rId471" Type="http://schemas.openxmlformats.org/officeDocument/2006/relationships/slideLayout" Target="../slideLayouts/slideLayout471.xml"/><Relationship Id="rId667" Type="http://schemas.openxmlformats.org/officeDocument/2006/relationships/slideLayout" Target="../slideLayouts/slideLayout667.xml"/><Relationship Id="rId17" Type="http://schemas.openxmlformats.org/officeDocument/2006/relationships/slideLayout" Target="../slideLayouts/slideLayout17.xml"/><Relationship Id="rId59" Type="http://schemas.openxmlformats.org/officeDocument/2006/relationships/slideLayout" Target="../slideLayouts/slideLayout59.xml"/><Relationship Id="rId124" Type="http://schemas.openxmlformats.org/officeDocument/2006/relationships/slideLayout" Target="../slideLayouts/slideLayout124.xml"/><Relationship Id="rId527" Type="http://schemas.openxmlformats.org/officeDocument/2006/relationships/slideLayout" Target="../slideLayouts/slideLayout527.xml"/><Relationship Id="rId569" Type="http://schemas.openxmlformats.org/officeDocument/2006/relationships/slideLayout" Target="../slideLayouts/slideLayout569.xml"/><Relationship Id="rId70" Type="http://schemas.openxmlformats.org/officeDocument/2006/relationships/slideLayout" Target="../slideLayouts/slideLayout70.xml"/><Relationship Id="rId166" Type="http://schemas.openxmlformats.org/officeDocument/2006/relationships/slideLayout" Target="../slideLayouts/slideLayout166.xml"/><Relationship Id="rId331" Type="http://schemas.openxmlformats.org/officeDocument/2006/relationships/slideLayout" Target="../slideLayouts/slideLayout331.xml"/><Relationship Id="rId373" Type="http://schemas.openxmlformats.org/officeDocument/2006/relationships/slideLayout" Target="../slideLayouts/slideLayout373.xml"/><Relationship Id="rId429" Type="http://schemas.openxmlformats.org/officeDocument/2006/relationships/slideLayout" Target="../slideLayouts/slideLayout429.xml"/><Relationship Id="rId580" Type="http://schemas.openxmlformats.org/officeDocument/2006/relationships/slideLayout" Target="../slideLayouts/slideLayout580.xml"/><Relationship Id="rId636" Type="http://schemas.openxmlformats.org/officeDocument/2006/relationships/slideLayout" Target="../slideLayouts/slideLayout636.xml"/><Relationship Id="rId1" Type="http://schemas.openxmlformats.org/officeDocument/2006/relationships/slideLayout" Target="../slideLayouts/slideLayout1.xml"/><Relationship Id="rId233" Type="http://schemas.openxmlformats.org/officeDocument/2006/relationships/slideLayout" Target="../slideLayouts/slideLayout233.xml"/><Relationship Id="rId440" Type="http://schemas.openxmlformats.org/officeDocument/2006/relationships/slideLayout" Target="../slideLayouts/slideLayout440.xml"/><Relationship Id="rId678" Type="http://schemas.openxmlformats.org/officeDocument/2006/relationships/slideLayout" Target="../slideLayouts/slideLayout678.xml"/><Relationship Id="rId28" Type="http://schemas.openxmlformats.org/officeDocument/2006/relationships/slideLayout" Target="../slideLayouts/slideLayout28.xml"/><Relationship Id="rId275" Type="http://schemas.openxmlformats.org/officeDocument/2006/relationships/slideLayout" Target="../slideLayouts/slideLayout275.xml"/><Relationship Id="rId300" Type="http://schemas.openxmlformats.org/officeDocument/2006/relationships/slideLayout" Target="../slideLayouts/slideLayout300.xml"/><Relationship Id="rId482" Type="http://schemas.openxmlformats.org/officeDocument/2006/relationships/slideLayout" Target="../slideLayouts/slideLayout482.xml"/><Relationship Id="rId538" Type="http://schemas.openxmlformats.org/officeDocument/2006/relationships/slideLayout" Target="../slideLayouts/slideLayout538.xml"/><Relationship Id="rId81" Type="http://schemas.openxmlformats.org/officeDocument/2006/relationships/slideLayout" Target="../slideLayouts/slideLayout81.xml"/><Relationship Id="rId135" Type="http://schemas.openxmlformats.org/officeDocument/2006/relationships/slideLayout" Target="../slideLayouts/slideLayout135.xml"/><Relationship Id="rId177" Type="http://schemas.openxmlformats.org/officeDocument/2006/relationships/slideLayout" Target="../slideLayouts/slideLayout177.xml"/><Relationship Id="rId342" Type="http://schemas.openxmlformats.org/officeDocument/2006/relationships/slideLayout" Target="../slideLayouts/slideLayout342.xml"/><Relationship Id="rId384" Type="http://schemas.openxmlformats.org/officeDocument/2006/relationships/slideLayout" Target="../slideLayouts/slideLayout384.xml"/><Relationship Id="rId591" Type="http://schemas.openxmlformats.org/officeDocument/2006/relationships/slideLayout" Target="../slideLayouts/slideLayout591.xml"/><Relationship Id="rId605" Type="http://schemas.openxmlformats.org/officeDocument/2006/relationships/slideLayout" Target="../slideLayouts/slideLayout605.xml"/><Relationship Id="rId202" Type="http://schemas.openxmlformats.org/officeDocument/2006/relationships/slideLayout" Target="../slideLayouts/slideLayout202.xml"/><Relationship Id="rId244" Type="http://schemas.openxmlformats.org/officeDocument/2006/relationships/slideLayout" Target="../slideLayouts/slideLayout244.xml"/><Relationship Id="rId647" Type="http://schemas.openxmlformats.org/officeDocument/2006/relationships/slideLayout" Target="../slideLayouts/slideLayout647.xml"/><Relationship Id="rId39" Type="http://schemas.openxmlformats.org/officeDocument/2006/relationships/slideLayout" Target="../slideLayouts/slideLayout39.xml"/><Relationship Id="rId286" Type="http://schemas.openxmlformats.org/officeDocument/2006/relationships/slideLayout" Target="../slideLayouts/slideLayout286.xml"/><Relationship Id="rId451" Type="http://schemas.openxmlformats.org/officeDocument/2006/relationships/slideLayout" Target="../slideLayouts/slideLayout451.xml"/><Relationship Id="rId493" Type="http://schemas.openxmlformats.org/officeDocument/2006/relationships/slideLayout" Target="../slideLayouts/slideLayout493.xml"/><Relationship Id="rId507" Type="http://schemas.openxmlformats.org/officeDocument/2006/relationships/slideLayout" Target="../slideLayouts/slideLayout507.xml"/><Relationship Id="rId549" Type="http://schemas.openxmlformats.org/officeDocument/2006/relationships/slideLayout" Target="../slideLayouts/slideLayout549.xml"/><Relationship Id="rId50" Type="http://schemas.openxmlformats.org/officeDocument/2006/relationships/slideLayout" Target="../slideLayouts/slideLayout50.xml"/><Relationship Id="rId104" Type="http://schemas.openxmlformats.org/officeDocument/2006/relationships/slideLayout" Target="../slideLayouts/slideLayout104.xml"/><Relationship Id="rId146" Type="http://schemas.openxmlformats.org/officeDocument/2006/relationships/slideLayout" Target="../slideLayouts/slideLayout146.xml"/><Relationship Id="rId188" Type="http://schemas.openxmlformats.org/officeDocument/2006/relationships/slideLayout" Target="../slideLayouts/slideLayout188.xml"/><Relationship Id="rId311" Type="http://schemas.openxmlformats.org/officeDocument/2006/relationships/slideLayout" Target="../slideLayouts/slideLayout311.xml"/><Relationship Id="rId353" Type="http://schemas.openxmlformats.org/officeDocument/2006/relationships/slideLayout" Target="../slideLayouts/slideLayout353.xml"/><Relationship Id="rId395" Type="http://schemas.openxmlformats.org/officeDocument/2006/relationships/slideLayout" Target="../slideLayouts/slideLayout395.xml"/><Relationship Id="rId409" Type="http://schemas.openxmlformats.org/officeDocument/2006/relationships/slideLayout" Target="../slideLayouts/slideLayout409.xml"/><Relationship Id="rId560" Type="http://schemas.openxmlformats.org/officeDocument/2006/relationships/slideLayout" Target="../slideLayouts/slideLayout560.xml"/><Relationship Id="rId92" Type="http://schemas.openxmlformats.org/officeDocument/2006/relationships/slideLayout" Target="../slideLayouts/slideLayout92.xml"/><Relationship Id="rId213" Type="http://schemas.openxmlformats.org/officeDocument/2006/relationships/slideLayout" Target="../slideLayouts/slideLayout213.xml"/><Relationship Id="rId420" Type="http://schemas.openxmlformats.org/officeDocument/2006/relationships/slideLayout" Target="../slideLayouts/slideLayout420.xml"/><Relationship Id="rId616" Type="http://schemas.openxmlformats.org/officeDocument/2006/relationships/slideLayout" Target="../slideLayouts/slideLayout616.xml"/><Relationship Id="rId658" Type="http://schemas.openxmlformats.org/officeDocument/2006/relationships/slideLayout" Target="../slideLayouts/slideLayout658.xml"/><Relationship Id="rId255" Type="http://schemas.openxmlformats.org/officeDocument/2006/relationships/slideLayout" Target="../slideLayouts/slideLayout255.xml"/><Relationship Id="rId297" Type="http://schemas.openxmlformats.org/officeDocument/2006/relationships/slideLayout" Target="../slideLayouts/slideLayout297.xml"/><Relationship Id="rId462" Type="http://schemas.openxmlformats.org/officeDocument/2006/relationships/slideLayout" Target="../slideLayouts/slideLayout462.xml"/><Relationship Id="rId518" Type="http://schemas.openxmlformats.org/officeDocument/2006/relationships/slideLayout" Target="../slideLayouts/slideLayout518.xml"/><Relationship Id="rId115" Type="http://schemas.openxmlformats.org/officeDocument/2006/relationships/slideLayout" Target="../slideLayouts/slideLayout115.xml"/><Relationship Id="rId157" Type="http://schemas.openxmlformats.org/officeDocument/2006/relationships/slideLayout" Target="../slideLayouts/slideLayout157.xml"/><Relationship Id="rId322" Type="http://schemas.openxmlformats.org/officeDocument/2006/relationships/slideLayout" Target="../slideLayouts/slideLayout322.xml"/><Relationship Id="rId364" Type="http://schemas.openxmlformats.org/officeDocument/2006/relationships/slideLayout" Target="../slideLayouts/slideLayout364.xml"/><Relationship Id="rId61" Type="http://schemas.openxmlformats.org/officeDocument/2006/relationships/slideLayout" Target="../slideLayouts/slideLayout61.xml"/><Relationship Id="rId199" Type="http://schemas.openxmlformats.org/officeDocument/2006/relationships/slideLayout" Target="../slideLayouts/slideLayout199.xml"/><Relationship Id="rId571" Type="http://schemas.openxmlformats.org/officeDocument/2006/relationships/slideLayout" Target="../slideLayouts/slideLayout571.xml"/><Relationship Id="rId627" Type="http://schemas.openxmlformats.org/officeDocument/2006/relationships/slideLayout" Target="../slideLayouts/slideLayout627.xml"/><Relationship Id="rId669" Type="http://schemas.openxmlformats.org/officeDocument/2006/relationships/slideLayout" Target="../slideLayouts/slideLayout669.xml"/><Relationship Id="rId19" Type="http://schemas.openxmlformats.org/officeDocument/2006/relationships/slideLayout" Target="../slideLayouts/slideLayout19.xml"/><Relationship Id="rId224" Type="http://schemas.openxmlformats.org/officeDocument/2006/relationships/slideLayout" Target="../slideLayouts/slideLayout224.xml"/><Relationship Id="rId266" Type="http://schemas.openxmlformats.org/officeDocument/2006/relationships/slideLayout" Target="../slideLayouts/slideLayout266.xml"/><Relationship Id="rId431" Type="http://schemas.openxmlformats.org/officeDocument/2006/relationships/slideLayout" Target="../slideLayouts/slideLayout431.xml"/><Relationship Id="rId473" Type="http://schemas.openxmlformats.org/officeDocument/2006/relationships/slideLayout" Target="../slideLayouts/slideLayout473.xml"/><Relationship Id="rId529" Type="http://schemas.openxmlformats.org/officeDocument/2006/relationships/slideLayout" Target="../slideLayouts/slideLayout529.xml"/><Relationship Id="rId680" Type="http://schemas.openxmlformats.org/officeDocument/2006/relationships/slideLayout" Target="../slideLayouts/slideLayout680.xml"/><Relationship Id="rId30" Type="http://schemas.openxmlformats.org/officeDocument/2006/relationships/slideLayout" Target="../slideLayouts/slideLayout30.xml"/><Relationship Id="rId126" Type="http://schemas.openxmlformats.org/officeDocument/2006/relationships/slideLayout" Target="../slideLayouts/slideLayout126.xml"/><Relationship Id="rId168" Type="http://schemas.openxmlformats.org/officeDocument/2006/relationships/slideLayout" Target="../slideLayouts/slideLayout168.xml"/><Relationship Id="rId333" Type="http://schemas.openxmlformats.org/officeDocument/2006/relationships/slideLayout" Target="../slideLayouts/slideLayout333.xml"/><Relationship Id="rId540" Type="http://schemas.openxmlformats.org/officeDocument/2006/relationships/slideLayout" Target="../slideLayouts/slideLayout540.xml"/><Relationship Id="rId72" Type="http://schemas.openxmlformats.org/officeDocument/2006/relationships/slideLayout" Target="../slideLayouts/slideLayout72.xml"/><Relationship Id="rId375" Type="http://schemas.openxmlformats.org/officeDocument/2006/relationships/slideLayout" Target="../slideLayouts/slideLayout375.xml"/><Relationship Id="rId582" Type="http://schemas.openxmlformats.org/officeDocument/2006/relationships/slideLayout" Target="../slideLayouts/slideLayout582.xml"/><Relationship Id="rId638" Type="http://schemas.openxmlformats.org/officeDocument/2006/relationships/slideLayout" Target="../slideLayouts/slideLayout638.xml"/><Relationship Id="rId3" Type="http://schemas.openxmlformats.org/officeDocument/2006/relationships/slideLayout" Target="../slideLayouts/slideLayout3.xml"/><Relationship Id="rId235" Type="http://schemas.openxmlformats.org/officeDocument/2006/relationships/slideLayout" Target="../slideLayouts/slideLayout235.xml"/><Relationship Id="rId277" Type="http://schemas.openxmlformats.org/officeDocument/2006/relationships/slideLayout" Target="../slideLayouts/slideLayout277.xml"/><Relationship Id="rId400" Type="http://schemas.openxmlformats.org/officeDocument/2006/relationships/slideLayout" Target="../slideLayouts/slideLayout400.xml"/><Relationship Id="rId442" Type="http://schemas.openxmlformats.org/officeDocument/2006/relationships/slideLayout" Target="../slideLayouts/slideLayout442.xml"/><Relationship Id="rId484" Type="http://schemas.openxmlformats.org/officeDocument/2006/relationships/slideLayout" Target="../slideLayouts/slideLayout484.xml"/><Relationship Id="rId137" Type="http://schemas.openxmlformats.org/officeDocument/2006/relationships/slideLayout" Target="../slideLayouts/slideLayout137.xml"/><Relationship Id="rId302" Type="http://schemas.openxmlformats.org/officeDocument/2006/relationships/slideLayout" Target="../slideLayouts/slideLayout302.xml"/><Relationship Id="rId344" Type="http://schemas.openxmlformats.org/officeDocument/2006/relationships/slideLayout" Target="../slideLayouts/slideLayout344.xml"/><Relationship Id="rId41" Type="http://schemas.openxmlformats.org/officeDocument/2006/relationships/slideLayout" Target="../slideLayouts/slideLayout41.xml"/><Relationship Id="rId83" Type="http://schemas.openxmlformats.org/officeDocument/2006/relationships/slideLayout" Target="../slideLayouts/slideLayout83.xml"/><Relationship Id="rId179" Type="http://schemas.openxmlformats.org/officeDocument/2006/relationships/slideLayout" Target="../slideLayouts/slideLayout179.xml"/><Relationship Id="rId386" Type="http://schemas.openxmlformats.org/officeDocument/2006/relationships/slideLayout" Target="../slideLayouts/slideLayout386.xml"/><Relationship Id="rId551" Type="http://schemas.openxmlformats.org/officeDocument/2006/relationships/slideLayout" Target="../slideLayouts/slideLayout551.xml"/><Relationship Id="rId593" Type="http://schemas.openxmlformats.org/officeDocument/2006/relationships/slideLayout" Target="../slideLayouts/slideLayout593.xml"/><Relationship Id="rId607" Type="http://schemas.openxmlformats.org/officeDocument/2006/relationships/slideLayout" Target="../slideLayouts/slideLayout607.xml"/><Relationship Id="rId649" Type="http://schemas.openxmlformats.org/officeDocument/2006/relationships/slideLayout" Target="../slideLayouts/slideLayout649.xml"/><Relationship Id="rId190" Type="http://schemas.openxmlformats.org/officeDocument/2006/relationships/slideLayout" Target="../slideLayouts/slideLayout190.xml"/><Relationship Id="rId204" Type="http://schemas.openxmlformats.org/officeDocument/2006/relationships/slideLayout" Target="../slideLayouts/slideLayout204.xml"/><Relationship Id="rId246" Type="http://schemas.openxmlformats.org/officeDocument/2006/relationships/slideLayout" Target="../slideLayouts/slideLayout246.xml"/><Relationship Id="rId288" Type="http://schemas.openxmlformats.org/officeDocument/2006/relationships/slideLayout" Target="../slideLayouts/slideLayout288.xml"/><Relationship Id="rId411" Type="http://schemas.openxmlformats.org/officeDocument/2006/relationships/slideLayout" Target="../slideLayouts/slideLayout411.xml"/><Relationship Id="rId453" Type="http://schemas.openxmlformats.org/officeDocument/2006/relationships/slideLayout" Target="../slideLayouts/slideLayout453.xml"/><Relationship Id="rId509" Type="http://schemas.openxmlformats.org/officeDocument/2006/relationships/slideLayout" Target="../slideLayouts/slideLayout509.xml"/><Relationship Id="rId660" Type="http://schemas.openxmlformats.org/officeDocument/2006/relationships/slideLayout" Target="../slideLayouts/slideLayout660.xml"/><Relationship Id="rId106" Type="http://schemas.openxmlformats.org/officeDocument/2006/relationships/slideLayout" Target="../slideLayouts/slideLayout106.xml"/><Relationship Id="rId313" Type="http://schemas.openxmlformats.org/officeDocument/2006/relationships/slideLayout" Target="../slideLayouts/slideLayout313.xml"/><Relationship Id="rId495" Type="http://schemas.openxmlformats.org/officeDocument/2006/relationships/slideLayout" Target="../slideLayouts/slideLayout495.xml"/><Relationship Id="rId10" Type="http://schemas.openxmlformats.org/officeDocument/2006/relationships/slideLayout" Target="../slideLayouts/slideLayout10.xml"/><Relationship Id="rId52" Type="http://schemas.openxmlformats.org/officeDocument/2006/relationships/slideLayout" Target="../slideLayouts/slideLayout52.xml"/><Relationship Id="rId94" Type="http://schemas.openxmlformats.org/officeDocument/2006/relationships/slideLayout" Target="../slideLayouts/slideLayout94.xml"/><Relationship Id="rId148" Type="http://schemas.openxmlformats.org/officeDocument/2006/relationships/slideLayout" Target="../slideLayouts/slideLayout148.xml"/><Relationship Id="rId355" Type="http://schemas.openxmlformats.org/officeDocument/2006/relationships/slideLayout" Target="../slideLayouts/slideLayout355.xml"/><Relationship Id="rId397" Type="http://schemas.openxmlformats.org/officeDocument/2006/relationships/slideLayout" Target="../slideLayouts/slideLayout397.xml"/><Relationship Id="rId520" Type="http://schemas.openxmlformats.org/officeDocument/2006/relationships/slideLayout" Target="../slideLayouts/slideLayout520.xml"/><Relationship Id="rId562" Type="http://schemas.openxmlformats.org/officeDocument/2006/relationships/slideLayout" Target="../slideLayouts/slideLayout562.xml"/><Relationship Id="rId618" Type="http://schemas.openxmlformats.org/officeDocument/2006/relationships/slideLayout" Target="../slideLayouts/slideLayout618.xml"/><Relationship Id="rId215" Type="http://schemas.openxmlformats.org/officeDocument/2006/relationships/slideLayout" Target="../slideLayouts/slideLayout215.xml"/><Relationship Id="rId257" Type="http://schemas.openxmlformats.org/officeDocument/2006/relationships/slideLayout" Target="../slideLayouts/slideLayout257.xml"/><Relationship Id="rId422" Type="http://schemas.openxmlformats.org/officeDocument/2006/relationships/slideLayout" Target="../slideLayouts/slideLayout422.xml"/><Relationship Id="rId464" Type="http://schemas.openxmlformats.org/officeDocument/2006/relationships/slideLayout" Target="../slideLayouts/slideLayout464.xml"/><Relationship Id="rId299" Type="http://schemas.openxmlformats.org/officeDocument/2006/relationships/slideLayout" Target="../slideLayouts/slideLayout299.xml"/><Relationship Id="rId63" Type="http://schemas.openxmlformats.org/officeDocument/2006/relationships/slideLayout" Target="../slideLayouts/slideLayout63.xml"/><Relationship Id="rId159" Type="http://schemas.openxmlformats.org/officeDocument/2006/relationships/slideLayout" Target="../slideLayouts/slideLayout159.xml"/><Relationship Id="rId366" Type="http://schemas.openxmlformats.org/officeDocument/2006/relationships/slideLayout" Target="../slideLayouts/slideLayout366.xml"/><Relationship Id="rId573" Type="http://schemas.openxmlformats.org/officeDocument/2006/relationships/slideLayout" Target="../slideLayouts/slideLayout573.xml"/><Relationship Id="rId226" Type="http://schemas.openxmlformats.org/officeDocument/2006/relationships/slideLayout" Target="../slideLayouts/slideLayout226.xml"/><Relationship Id="rId433" Type="http://schemas.openxmlformats.org/officeDocument/2006/relationships/slideLayout" Target="../slideLayouts/slideLayout433.xml"/><Relationship Id="rId640" Type="http://schemas.openxmlformats.org/officeDocument/2006/relationships/slideLayout" Target="../slideLayouts/slideLayout640.xml"/><Relationship Id="rId74" Type="http://schemas.openxmlformats.org/officeDocument/2006/relationships/slideLayout" Target="../slideLayouts/slideLayout74.xml"/><Relationship Id="rId377" Type="http://schemas.openxmlformats.org/officeDocument/2006/relationships/slideLayout" Target="../slideLayouts/slideLayout377.xml"/><Relationship Id="rId500" Type="http://schemas.openxmlformats.org/officeDocument/2006/relationships/slideLayout" Target="../slideLayouts/slideLayout500.xml"/><Relationship Id="rId584" Type="http://schemas.openxmlformats.org/officeDocument/2006/relationships/slideLayout" Target="../slideLayouts/slideLayout584.xml"/><Relationship Id="rId5" Type="http://schemas.openxmlformats.org/officeDocument/2006/relationships/slideLayout" Target="../slideLayouts/slideLayout5.xml"/><Relationship Id="rId237" Type="http://schemas.openxmlformats.org/officeDocument/2006/relationships/slideLayout" Target="../slideLayouts/slideLayout237.xml"/><Relationship Id="rId444" Type="http://schemas.openxmlformats.org/officeDocument/2006/relationships/slideLayout" Target="../slideLayouts/slideLayout444.xml"/><Relationship Id="rId651" Type="http://schemas.openxmlformats.org/officeDocument/2006/relationships/slideLayout" Target="../slideLayouts/slideLayout651.xml"/><Relationship Id="rId290" Type="http://schemas.openxmlformats.org/officeDocument/2006/relationships/slideLayout" Target="../slideLayouts/slideLayout290.xml"/><Relationship Id="rId304" Type="http://schemas.openxmlformats.org/officeDocument/2006/relationships/slideLayout" Target="../slideLayouts/slideLayout304.xml"/><Relationship Id="rId388" Type="http://schemas.openxmlformats.org/officeDocument/2006/relationships/slideLayout" Target="../slideLayouts/slideLayout388.xml"/><Relationship Id="rId511" Type="http://schemas.openxmlformats.org/officeDocument/2006/relationships/slideLayout" Target="../slideLayouts/slideLayout511.xml"/><Relationship Id="rId609" Type="http://schemas.openxmlformats.org/officeDocument/2006/relationships/slideLayout" Target="../slideLayouts/slideLayout609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595" Type="http://schemas.openxmlformats.org/officeDocument/2006/relationships/slideLayout" Target="../slideLayouts/slideLayout595.xml"/><Relationship Id="rId248" Type="http://schemas.openxmlformats.org/officeDocument/2006/relationships/slideLayout" Target="../slideLayouts/slideLayout248.xml"/><Relationship Id="rId455" Type="http://schemas.openxmlformats.org/officeDocument/2006/relationships/slideLayout" Target="../slideLayouts/slideLayout455.xml"/><Relationship Id="rId662" Type="http://schemas.openxmlformats.org/officeDocument/2006/relationships/slideLayout" Target="../slideLayouts/slideLayout662.xml"/><Relationship Id="rId12" Type="http://schemas.openxmlformats.org/officeDocument/2006/relationships/slideLayout" Target="../slideLayouts/slideLayout12.xml"/><Relationship Id="rId108" Type="http://schemas.openxmlformats.org/officeDocument/2006/relationships/slideLayout" Target="../slideLayouts/slideLayout108.xml"/><Relationship Id="rId315" Type="http://schemas.openxmlformats.org/officeDocument/2006/relationships/slideLayout" Target="../slideLayouts/slideLayout315.xml"/><Relationship Id="rId522" Type="http://schemas.openxmlformats.org/officeDocument/2006/relationships/slideLayout" Target="../slideLayouts/slideLayout522.xml"/><Relationship Id="rId96" Type="http://schemas.openxmlformats.org/officeDocument/2006/relationships/slideLayout" Target="../slideLayouts/slideLayout96.xml"/><Relationship Id="rId161" Type="http://schemas.openxmlformats.org/officeDocument/2006/relationships/slideLayout" Target="../slideLayouts/slideLayout161.xml"/><Relationship Id="rId399" Type="http://schemas.openxmlformats.org/officeDocument/2006/relationships/slideLayout" Target="../slideLayouts/slideLayout399.xml"/><Relationship Id="rId259" Type="http://schemas.openxmlformats.org/officeDocument/2006/relationships/slideLayout" Target="../slideLayouts/slideLayout259.xml"/><Relationship Id="rId466" Type="http://schemas.openxmlformats.org/officeDocument/2006/relationships/slideLayout" Target="../slideLayouts/slideLayout466.xml"/><Relationship Id="rId673" Type="http://schemas.openxmlformats.org/officeDocument/2006/relationships/slideLayout" Target="../slideLayouts/slideLayout673.xml"/><Relationship Id="rId23" Type="http://schemas.openxmlformats.org/officeDocument/2006/relationships/slideLayout" Target="../slideLayouts/slideLayout23.xml"/><Relationship Id="rId119" Type="http://schemas.openxmlformats.org/officeDocument/2006/relationships/slideLayout" Target="../slideLayouts/slideLayout119.xml"/><Relationship Id="rId326" Type="http://schemas.openxmlformats.org/officeDocument/2006/relationships/slideLayout" Target="../slideLayouts/slideLayout326.xml"/><Relationship Id="rId533" Type="http://schemas.openxmlformats.org/officeDocument/2006/relationships/slideLayout" Target="../slideLayouts/slideLayout533.xml"/><Relationship Id="rId172" Type="http://schemas.openxmlformats.org/officeDocument/2006/relationships/slideLayout" Target="../slideLayouts/slideLayout172.xml"/><Relationship Id="rId477" Type="http://schemas.openxmlformats.org/officeDocument/2006/relationships/slideLayout" Target="../slideLayouts/slideLayout477.xml"/><Relationship Id="rId600" Type="http://schemas.openxmlformats.org/officeDocument/2006/relationships/slideLayout" Target="../slideLayouts/slideLayout600.xml"/><Relationship Id="rId684" Type="http://schemas.openxmlformats.org/officeDocument/2006/relationships/slideLayout" Target="../slideLayouts/slideLayout684.xml"/><Relationship Id="rId337" Type="http://schemas.openxmlformats.org/officeDocument/2006/relationships/slideLayout" Target="../slideLayouts/slideLayout337.xml"/><Relationship Id="rId34" Type="http://schemas.openxmlformats.org/officeDocument/2006/relationships/slideLayout" Target="../slideLayouts/slideLayout34.xml"/><Relationship Id="rId544" Type="http://schemas.openxmlformats.org/officeDocument/2006/relationships/slideLayout" Target="../slideLayouts/slideLayout544.xml"/><Relationship Id="rId183" Type="http://schemas.openxmlformats.org/officeDocument/2006/relationships/slideLayout" Target="../slideLayouts/slideLayout183.xml"/><Relationship Id="rId390" Type="http://schemas.openxmlformats.org/officeDocument/2006/relationships/slideLayout" Target="../slideLayouts/slideLayout390.xml"/><Relationship Id="rId404" Type="http://schemas.openxmlformats.org/officeDocument/2006/relationships/slideLayout" Target="../slideLayouts/slideLayout404.xml"/><Relationship Id="rId611" Type="http://schemas.openxmlformats.org/officeDocument/2006/relationships/slideLayout" Target="../slideLayouts/slideLayout611.xml"/><Relationship Id="rId250" Type="http://schemas.openxmlformats.org/officeDocument/2006/relationships/slideLayout" Target="../slideLayouts/slideLayout250.xml"/><Relationship Id="rId488" Type="http://schemas.openxmlformats.org/officeDocument/2006/relationships/slideLayout" Target="../slideLayouts/slideLayout488.xml"/><Relationship Id="rId45" Type="http://schemas.openxmlformats.org/officeDocument/2006/relationships/slideLayout" Target="../slideLayouts/slideLayout45.xml"/><Relationship Id="rId110" Type="http://schemas.openxmlformats.org/officeDocument/2006/relationships/slideLayout" Target="../slideLayouts/slideLayout110.xml"/><Relationship Id="rId348" Type="http://schemas.openxmlformats.org/officeDocument/2006/relationships/slideLayout" Target="../slideLayouts/slideLayout348.xml"/><Relationship Id="rId555" Type="http://schemas.openxmlformats.org/officeDocument/2006/relationships/slideLayout" Target="../slideLayouts/slideLayout555.xml"/><Relationship Id="rId194" Type="http://schemas.openxmlformats.org/officeDocument/2006/relationships/slideLayout" Target="../slideLayouts/slideLayout194.xml"/><Relationship Id="rId208" Type="http://schemas.openxmlformats.org/officeDocument/2006/relationships/slideLayout" Target="../slideLayouts/slideLayout208.xml"/><Relationship Id="rId415" Type="http://schemas.openxmlformats.org/officeDocument/2006/relationships/slideLayout" Target="../slideLayouts/slideLayout415.xml"/><Relationship Id="rId622" Type="http://schemas.openxmlformats.org/officeDocument/2006/relationships/slideLayout" Target="../slideLayouts/slideLayout622.xml"/><Relationship Id="rId261" Type="http://schemas.openxmlformats.org/officeDocument/2006/relationships/slideLayout" Target="../slideLayouts/slideLayout261.xml"/><Relationship Id="rId499" Type="http://schemas.openxmlformats.org/officeDocument/2006/relationships/slideLayout" Target="../slideLayouts/slideLayout499.xml"/><Relationship Id="rId56" Type="http://schemas.openxmlformats.org/officeDocument/2006/relationships/slideLayout" Target="../slideLayouts/slideLayout56.xml"/><Relationship Id="rId359" Type="http://schemas.openxmlformats.org/officeDocument/2006/relationships/slideLayout" Target="../slideLayouts/slideLayout359.xml"/><Relationship Id="rId566" Type="http://schemas.openxmlformats.org/officeDocument/2006/relationships/slideLayout" Target="../slideLayouts/slideLayout566.xml"/><Relationship Id="rId121" Type="http://schemas.openxmlformats.org/officeDocument/2006/relationships/slideLayout" Target="../slideLayouts/slideLayout121.xml"/><Relationship Id="rId219" Type="http://schemas.openxmlformats.org/officeDocument/2006/relationships/slideLayout" Target="../slideLayouts/slideLayout219.xml"/><Relationship Id="rId426" Type="http://schemas.openxmlformats.org/officeDocument/2006/relationships/slideLayout" Target="../slideLayouts/slideLayout426.xml"/><Relationship Id="rId633" Type="http://schemas.openxmlformats.org/officeDocument/2006/relationships/slideLayout" Target="../slideLayouts/slideLayout633.xml"/><Relationship Id="rId67" Type="http://schemas.openxmlformats.org/officeDocument/2006/relationships/slideLayout" Target="../slideLayouts/slideLayout67.xml"/><Relationship Id="rId272" Type="http://schemas.openxmlformats.org/officeDocument/2006/relationships/slideLayout" Target="../slideLayouts/slideLayout272.xml"/><Relationship Id="rId577" Type="http://schemas.openxmlformats.org/officeDocument/2006/relationships/slideLayout" Target="../slideLayouts/slideLayout577.xml"/><Relationship Id="rId132" Type="http://schemas.openxmlformats.org/officeDocument/2006/relationships/slideLayout" Target="../slideLayouts/slideLayout132.xml"/><Relationship Id="rId437" Type="http://schemas.openxmlformats.org/officeDocument/2006/relationships/slideLayout" Target="../slideLayouts/slideLayout437.xml"/><Relationship Id="rId644" Type="http://schemas.openxmlformats.org/officeDocument/2006/relationships/slideLayout" Target="../slideLayouts/slideLayout644.xml"/><Relationship Id="rId283" Type="http://schemas.openxmlformats.org/officeDocument/2006/relationships/slideLayout" Target="../slideLayouts/slideLayout283.xml"/><Relationship Id="rId490" Type="http://schemas.openxmlformats.org/officeDocument/2006/relationships/slideLayout" Target="../slideLayouts/slideLayout490.xml"/><Relationship Id="rId504" Type="http://schemas.openxmlformats.org/officeDocument/2006/relationships/slideLayout" Target="../slideLayouts/slideLayout504.xml"/><Relationship Id="rId78" Type="http://schemas.openxmlformats.org/officeDocument/2006/relationships/slideLayout" Target="../slideLayouts/slideLayout78.xml"/><Relationship Id="rId143" Type="http://schemas.openxmlformats.org/officeDocument/2006/relationships/slideLayout" Target="../slideLayouts/slideLayout143.xml"/><Relationship Id="rId350" Type="http://schemas.openxmlformats.org/officeDocument/2006/relationships/slideLayout" Target="../slideLayouts/slideLayout350.xml"/><Relationship Id="rId588" Type="http://schemas.openxmlformats.org/officeDocument/2006/relationships/slideLayout" Target="../slideLayouts/slideLayout588.xml"/><Relationship Id="rId9" Type="http://schemas.openxmlformats.org/officeDocument/2006/relationships/slideLayout" Target="../slideLayouts/slideLayout9.xml"/><Relationship Id="rId210" Type="http://schemas.openxmlformats.org/officeDocument/2006/relationships/slideLayout" Target="../slideLayouts/slideLayout210.xml"/><Relationship Id="rId448" Type="http://schemas.openxmlformats.org/officeDocument/2006/relationships/slideLayout" Target="../slideLayouts/slideLayout448.xml"/><Relationship Id="rId655" Type="http://schemas.openxmlformats.org/officeDocument/2006/relationships/slideLayout" Target="../slideLayouts/slideLayout655.xml"/><Relationship Id="rId294" Type="http://schemas.openxmlformats.org/officeDocument/2006/relationships/slideLayout" Target="../slideLayouts/slideLayout294.xml"/><Relationship Id="rId308" Type="http://schemas.openxmlformats.org/officeDocument/2006/relationships/slideLayout" Target="../slideLayouts/slideLayout308.xml"/><Relationship Id="rId515" Type="http://schemas.openxmlformats.org/officeDocument/2006/relationships/slideLayout" Target="../slideLayouts/slideLayout515.xml"/><Relationship Id="rId89" Type="http://schemas.openxmlformats.org/officeDocument/2006/relationships/slideLayout" Target="../slideLayouts/slideLayout89.xml"/><Relationship Id="rId154" Type="http://schemas.openxmlformats.org/officeDocument/2006/relationships/slideLayout" Target="../slideLayouts/slideLayout154.xml"/><Relationship Id="rId361" Type="http://schemas.openxmlformats.org/officeDocument/2006/relationships/slideLayout" Target="../slideLayouts/slideLayout361.xml"/><Relationship Id="rId599" Type="http://schemas.openxmlformats.org/officeDocument/2006/relationships/slideLayout" Target="../slideLayouts/slideLayout599.xml"/><Relationship Id="rId459" Type="http://schemas.openxmlformats.org/officeDocument/2006/relationships/slideLayout" Target="../slideLayouts/slideLayout459.xml"/><Relationship Id="rId666" Type="http://schemas.openxmlformats.org/officeDocument/2006/relationships/slideLayout" Target="../slideLayouts/slideLayout666.xml"/><Relationship Id="rId16" Type="http://schemas.openxmlformats.org/officeDocument/2006/relationships/slideLayout" Target="../slideLayouts/slideLayout16.xml"/><Relationship Id="rId221" Type="http://schemas.openxmlformats.org/officeDocument/2006/relationships/slideLayout" Target="../slideLayouts/slideLayout221.xml"/><Relationship Id="rId319" Type="http://schemas.openxmlformats.org/officeDocument/2006/relationships/slideLayout" Target="../slideLayouts/slideLayout319.xml"/><Relationship Id="rId526" Type="http://schemas.openxmlformats.org/officeDocument/2006/relationships/slideLayout" Target="../slideLayouts/slideLayout526.xml"/><Relationship Id="rId165" Type="http://schemas.openxmlformats.org/officeDocument/2006/relationships/slideLayout" Target="../slideLayouts/slideLayout165.xml"/><Relationship Id="rId372" Type="http://schemas.openxmlformats.org/officeDocument/2006/relationships/slideLayout" Target="../slideLayouts/slideLayout372.xml"/><Relationship Id="rId677" Type="http://schemas.openxmlformats.org/officeDocument/2006/relationships/slideLayout" Target="../slideLayouts/slideLayout677.xml"/><Relationship Id="rId232" Type="http://schemas.openxmlformats.org/officeDocument/2006/relationships/slideLayout" Target="../slideLayouts/slideLayout232.xml"/><Relationship Id="rId27" Type="http://schemas.openxmlformats.org/officeDocument/2006/relationships/slideLayout" Target="../slideLayouts/slideLayout27.xml"/><Relationship Id="rId537" Type="http://schemas.openxmlformats.org/officeDocument/2006/relationships/slideLayout" Target="../slideLayouts/slideLayout537.xml"/><Relationship Id="rId80" Type="http://schemas.openxmlformats.org/officeDocument/2006/relationships/slideLayout" Target="../slideLayouts/slideLayout80.xml"/><Relationship Id="rId176" Type="http://schemas.openxmlformats.org/officeDocument/2006/relationships/slideLayout" Target="../slideLayouts/slideLayout176.xml"/><Relationship Id="rId383" Type="http://schemas.openxmlformats.org/officeDocument/2006/relationships/slideLayout" Target="../slideLayouts/slideLayout383.xml"/><Relationship Id="rId590" Type="http://schemas.openxmlformats.org/officeDocument/2006/relationships/slideLayout" Target="../slideLayouts/slideLayout590.xml"/><Relationship Id="rId604" Type="http://schemas.openxmlformats.org/officeDocument/2006/relationships/slideLayout" Target="../slideLayouts/slideLayout604.xml"/><Relationship Id="rId243" Type="http://schemas.openxmlformats.org/officeDocument/2006/relationships/slideLayout" Target="../slideLayouts/slideLayout243.xml"/><Relationship Id="rId450" Type="http://schemas.openxmlformats.org/officeDocument/2006/relationships/slideLayout" Target="../slideLayouts/slideLayout450.xml"/><Relationship Id="rId38" Type="http://schemas.openxmlformats.org/officeDocument/2006/relationships/slideLayout" Target="../slideLayouts/slideLayout38.xml"/><Relationship Id="rId103" Type="http://schemas.openxmlformats.org/officeDocument/2006/relationships/slideLayout" Target="../slideLayouts/slideLayout103.xml"/><Relationship Id="rId310" Type="http://schemas.openxmlformats.org/officeDocument/2006/relationships/slideLayout" Target="../slideLayouts/slideLayout310.xml"/><Relationship Id="rId548" Type="http://schemas.openxmlformats.org/officeDocument/2006/relationships/slideLayout" Target="../slideLayouts/slideLayout548.xml"/><Relationship Id="rId91" Type="http://schemas.openxmlformats.org/officeDocument/2006/relationships/slideLayout" Target="../slideLayouts/slideLayout91.xml"/><Relationship Id="rId187" Type="http://schemas.openxmlformats.org/officeDocument/2006/relationships/slideLayout" Target="../slideLayouts/slideLayout187.xml"/><Relationship Id="rId394" Type="http://schemas.openxmlformats.org/officeDocument/2006/relationships/slideLayout" Target="../slideLayouts/slideLayout394.xml"/><Relationship Id="rId408" Type="http://schemas.openxmlformats.org/officeDocument/2006/relationships/slideLayout" Target="../slideLayouts/slideLayout408.xml"/><Relationship Id="rId615" Type="http://schemas.openxmlformats.org/officeDocument/2006/relationships/slideLayout" Target="../slideLayouts/slideLayout615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802.xml"/><Relationship Id="rId21" Type="http://schemas.openxmlformats.org/officeDocument/2006/relationships/slideLayout" Target="../slideLayouts/slideLayout706.xml"/><Relationship Id="rId63" Type="http://schemas.openxmlformats.org/officeDocument/2006/relationships/slideLayout" Target="../slideLayouts/slideLayout748.xml"/><Relationship Id="rId159" Type="http://schemas.openxmlformats.org/officeDocument/2006/relationships/slideLayout" Target="../slideLayouts/slideLayout844.xml"/><Relationship Id="rId170" Type="http://schemas.openxmlformats.org/officeDocument/2006/relationships/slideLayout" Target="../slideLayouts/slideLayout855.xml"/><Relationship Id="rId226" Type="http://schemas.openxmlformats.org/officeDocument/2006/relationships/slideLayout" Target="../slideLayouts/slideLayout911.xml"/><Relationship Id="rId268" Type="http://schemas.openxmlformats.org/officeDocument/2006/relationships/slideLayout" Target="../slideLayouts/slideLayout953.xml"/><Relationship Id="rId32" Type="http://schemas.openxmlformats.org/officeDocument/2006/relationships/slideLayout" Target="../slideLayouts/slideLayout717.xml"/><Relationship Id="rId74" Type="http://schemas.openxmlformats.org/officeDocument/2006/relationships/slideLayout" Target="../slideLayouts/slideLayout759.xml"/><Relationship Id="rId128" Type="http://schemas.openxmlformats.org/officeDocument/2006/relationships/slideLayout" Target="../slideLayouts/slideLayout813.xml"/><Relationship Id="rId5" Type="http://schemas.openxmlformats.org/officeDocument/2006/relationships/slideLayout" Target="../slideLayouts/slideLayout690.xml"/><Relationship Id="rId95" Type="http://schemas.openxmlformats.org/officeDocument/2006/relationships/slideLayout" Target="../slideLayouts/slideLayout780.xml"/><Relationship Id="rId160" Type="http://schemas.openxmlformats.org/officeDocument/2006/relationships/slideLayout" Target="../slideLayouts/slideLayout845.xml"/><Relationship Id="rId181" Type="http://schemas.openxmlformats.org/officeDocument/2006/relationships/slideLayout" Target="../slideLayouts/slideLayout866.xml"/><Relationship Id="rId216" Type="http://schemas.openxmlformats.org/officeDocument/2006/relationships/slideLayout" Target="../slideLayouts/slideLayout901.xml"/><Relationship Id="rId237" Type="http://schemas.openxmlformats.org/officeDocument/2006/relationships/slideLayout" Target="../slideLayouts/slideLayout922.xml"/><Relationship Id="rId258" Type="http://schemas.openxmlformats.org/officeDocument/2006/relationships/slideLayout" Target="../slideLayouts/slideLayout943.xml"/><Relationship Id="rId22" Type="http://schemas.openxmlformats.org/officeDocument/2006/relationships/slideLayout" Target="../slideLayouts/slideLayout707.xml"/><Relationship Id="rId43" Type="http://schemas.openxmlformats.org/officeDocument/2006/relationships/slideLayout" Target="../slideLayouts/slideLayout728.xml"/><Relationship Id="rId64" Type="http://schemas.openxmlformats.org/officeDocument/2006/relationships/slideLayout" Target="../slideLayouts/slideLayout749.xml"/><Relationship Id="rId118" Type="http://schemas.openxmlformats.org/officeDocument/2006/relationships/slideLayout" Target="../slideLayouts/slideLayout803.xml"/><Relationship Id="rId139" Type="http://schemas.openxmlformats.org/officeDocument/2006/relationships/slideLayout" Target="../slideLayouts/slideLayout824.xml"/><Relationship Id="rId85" Type="http://schemas.openxmlformats.org/officeDocument/2006/relationships/slideLayout" Target="../slideLayouts/slideLayout770.xml"/><Relationship Id="rId150" Type="http://schemas.openxmlformats.org/officeDocument/2006/relationships/slideLayout" Target="../slideLayouts/slideLayout835.xml"/><Relationship Id="rId171" Type="http://schemas.openxmlformats.org/officeDocument/2006/relationships/slideLayout" Target="../slideLayouts/slideLayout856.xml"/><Relationship Id="rId192" Type="http://schemas.openxmlformats.org/officeDocument/2006/relationships/slideLayout" Target="../slideLayouts/slideLayout877.xml"/><Relationship Id="rId206" Type="http://schemas.openxmlformats.org/officeDocument/2006/relationships/slideLayout" Target="../slideLayouts/slideLayout891.xml"/><Relationship Id="rId227" Type="http://schemas.openxmlformats.org/officeDocument/2006/relationships/slideLayout" Target="../slideLayouts/slideLayout912.xml"/><Relationship Id="rId248" Type="http://schemas.openxmlformats.org/officeDocument/2006/relationships/slideLayout" Target="../slideLayouts/slideLayout933.xml"/><Relationship Id="rId269" Type="http://schemas.openxmlformats.org/officeDocument/2006/relationships/slideLayout" Target="../slideLayouts/slideLayout954.xml"/><Relationship Id="rId12" Type="http://schemas.openxmlformats.org/officeDocument/2006/relationships/slideLayout" Target="../slideLayouts/slideLayout697.xml"/><Relationship Id="rId33" Type="http://schemas.openxmlformats.org/officeDocument/2006/relationships/slideLayout" Target="../slideLayouts/slideLayout718.xml"/><Relationship Id="rId108" Type="http://schemas.openxmlformats.org/officeDocument/2006/relationships/slideLayout" Target="../slideLayouts/slideLayout793.xml"/><Relationship Id="rId129" Type="http://schemas.openxmlformats.org/officeDocument/2006/relationships/slideLayout" Target="../slideLayouts/slideLayout814.xml"/><Relationship Id="rId54" Type="http://schemas.openxmlformats.org/officeDocument/2006/relationships/slideLayout" Target="../slideLayouts/slideLayout739.xml"/><Relationship Id="rId75" Type="http://schemas.openxmlformats.org/officeDocument/2006/relationships/slideLayout" Target="../slideLayouts/slideLayout760.xml"/><Relationship Id="rId96" Type="http://schemas.openxmlformats.org/officeDocument/2006/relationships/slideLayout" Target="../slideLayouts/slideLayout781.xml"/><Relationship Id="rId140" Type="http://schemas.openxmlformats.org/officeDocument/2006/relationships/slideLayout" Target="../slideLayouts/slideLayout825.xml"/><Relationship Id="rId161" Type="http://schemas.openxmlformats.org/officeDocument/2006/relationships/slideLayout" Target="../slideLayouts/slideLayout846.xml"/><Relationship Id="rId182" Type="http://schemas.openxmlformats.org/officeDocument/2006/relationships/slideLayout" Target="../slideLayouts/slideLayout867.xml"/><Relationship Id="rId217" Type="http://schemas.openxmlformats.org/officeDocument/2006/relationships/slideLayout" Target="../slideLayouts/slideLayout902.xml"/><Relationship Id="rId6" Type="http://schemas.openxmlformats.org/officeDocument/2006/relationships/slideLayout" Target="../slideLayouts/slideLayout691.xml"/><Relationship Id="rId238" Type="http://schemas.openxmlformats.org/officeDocument/2006/relationships/slideLayout" Target="../slideLayouts/slideLayout923.xml"/><Relationship Id="rId259" Type="http://schemas.openxmlformats.org/officeDocument/2006/relationships/slideLayout" Target="../slideLayouts/slideLayout944.xml"/><Relationship Id="rId23" Type="http://schemas.openxmlformats.org/officeDocument/2006/relationships/slideLayout" Target="../slideLayouts/slideLayout708.xml"/><Relationship Id="rId119" Type="http://schemas.openxmlformats.org/officeDocument/2006/relationships/slideLayout" Target="../slideLayouts/slideLayout804.xml"/><Relationship Id="rId270" Type="http://schemas.openxmlformats.org/officeDocument/2006/relationships/slideLayout" Target="../slideLayouts/slideLayout955.xml"/><Relationship Id="rId44" Type="http://schemas.openxmlformats.org/officeDocument/2006/relationships/slideLayout" Target="../slideLayouts/slideLayout729.xml"/><Relationship Id="rId65" Type="http://schemas.openxmlformats.org/officeDocument/2006/relationships/slideLayout" Target="../slideLayouts/slideLayout750.xml"/><Relationship Id="rId86" Type="http://schemas.openxmlformats.org/officeDocument/2006/relationships/slideLayout" Target="../slideLayouts/slideLayout771.xml"/><Relationship Id="rId130" Type="http://schemas.openxmlformats.org/officeDocument/2006/relationships/slideLayout" Target="../slideLayouts/slideLayout815.xml"/><Relationship Id="rId151" Type="http://schemas.openxmlformats.org/officeDocument/2006/relationships/slideLayout" Target="../slideLayouts/slideLayout836.xml"/><Relationship Id="rId172" Type="http://schemas.openxmlformats.org/officeDocument/2006/relationships/slideLayout" Target="../slideLayouts/slideLayout857.xml"/><Relationship Id="rId193" Type="http://schemas.openxmlformats.org/officeDocument/2006/relationships/slideLayout" Target="../slideLayouts/slideLayout878.xml"/><Relationship Id="rId207" Type="http://schemas.openxmlformats.org/officeDocument/2006/relationships/slideLayout" Target="../slideLayouts/slideLayout892.xml"/><Relationship Id="rId228" Type="http://schemas.openxmlformats.org/officeDocument/2006/relationships/slideLayout" Target="../slideLayouts/slideLayout913.xml"/><Relationship Id="rId249" Type="http://schemas.openxmlformats.org/officeDocument/2006/relationships/slideLayout" Target="../slideLayouts/slideLayout934.xml"/><Relationship Id="rId13" Type="http://schemas.openxmlformats.org/officeDocument/2006/relationships/slideLayout" Target="../slideLayouts/slideLayout698.xml"/><Relationship Id="rId109" Type="http://schemas.openxmlformats.org/officeDocument/2006/relationships/slideLayout" Target="../slideLayouts/slideLayout794.xml"/><Relationship Id="rId260" Type="http://schemas.openxmlformats.org/officeDocument/2006/relationships/slideLayout" Target="../slideLayouts/slideLayout945.xml"/><Relationship Id="rId34" Type="http://schemas.openxmlformats.org/officeDocument/2006/relationships/slideLayout" Target="../slideLayouts/slideLayout719.xml"/><Relationship Id="rId55" Type="http://schemas.openxmlformats.org/officeDocument/2006/relationships/slideLayout" Target="../slideLayouts/slideLayout740.xml"/><Relationship Id="rId76" Type="http://schemas.openxmlformats.org/officeDocument/2006/relationships/slideLayout" Target="../slideLayouts/slideLayout761.xml"/><Relationship Id="rId97" Type="http://schemas.openxmlformats.org/officeDocument/2006/relationships/slideLayout" Target="../slideLayouts/slideLayout782.xml"/><Relationship Id="rId120" Type="http://schemas.openxmlformats.org/officeDocument/2006/relationships/slideLayout" Target="../slideLayouts/slideLayout805.xml"/><Relationship Id="rId141" Type="http://schemas.openxmlformats.org/officeDocument/2006/relationships/slideLayout" Target="../slideLayouts/slideLayout826.xml"/><Relationship Id="rId7" Type="http://schemas.openxmlformats.org/officeDocument/2006/relationships/slideLayout" Target="../slideLayouts/slideLayout692.xml"/><Relationship Id="rId162" Type="http://schemas.openxmlformats.org/officeDocument/2006/relationships/slideLayout" Target="../slideLayouts/slideLayout847.xml"/><Relationship Id="rId183" Type="http://schemas.openxmlformats.org/officeDocument/2006/relationships/slideLayout" Target="../slideLayouts/slideLayout868.xml"/><Relationship Id="rId218" Type="http://schemas.openxmlformats.org/officeDocument/2006/relationships/slideLayout" Target="../slideLayouts/slideLayout903.xml"/><Relationship Id="rId239" Type="http://schemas.openxmlformats.org/officeDocument/2006/relationships/slideLayout" Target="../slideLayouts/slideLayout924.xml"/><Relationship Id="rId250" Type="http://schemas.openxmlformats.org/officeDocument/2006/relationships/slideLayout" Target="../slideLayouts/slideLayout935.xml"/><Relationship Id="rId271" Type="http://schemas.openxmlformats.org/officeDocument/2006/relationships/slideLayout" Target="../slideLayouts/slideLayout956.xml"/><Relationship Id="rId24" Type="http://schemas.openxmlformats.org/officeDocument/2006/relationships/slideLayout" Target="../slideLayouts/slideLayout709.xml"/><Relationship Id="rId45" Type="http://schemas.openxmlformats.org/officeDocument/2006/relationships/slideLayout" Target="../slideLayouts/slideLayout730.xml"/><Relationship Id="rId66" Type="http://schemas.openxmlformats.org/officeDocument/2006/relationships/slideLayout" Target="../slideLayouts/slideLayout751.xml"/><Relationship Id="rId87" Type="http://schemas.openxmlformats.org/officeDocument/2006/relationships/slideLayout" Target="../slideLayouts/slideLayout772.xml"/><Relationship Id="rId110" Type="http://schemas.openxmlformats.org/officeDocument/2006/relationships/slideLayout" Target="../slideLayouts/slideLayout795.xml"/><Relationship Id="rId131" Type="http://schemas.openxmlformats.org/officeDocument/2006/relationships/slideLayout" Target="../slideLayouts/slideLayout816.xml"/><Relationship Id="rId152" Type="http://schemas.openxmlformats.org/officeDocument/2006/relationships/slideLayout" Target="../slideLayouts/slideLayout837.xml"/><Relationship Id="rId173" Type="http://schemas.openxmlformats.org/officeDocument/2006/relationships/slideLayout" Target="../slideLayouts/slideLayout858.xml"/><Relationship Id="rId194" Type="http://schemas.openxmlformats.org/officeDocument/2006/relationships/slideLayout" Target="../slideLayouts/slideLayout879.xml"/><Relationship Id="rId208" Type="http://schemas.openxmlformats.org/officeDocument/2006/relationships/slideLayout" Target="../slideLayouts/slideLayout893.xml"/><Relationship Id="rId229" Type="http://schemas.openxmlformats.org/officeDocument/2006/relationships/slideLayout" Target="../slideLayouts/slideLayout914.xml"/><Relationship Id="rId240" Type="http://schemas.openxmlformats.org/officeDocument/2006/relationships/slideLayout" Target="../slideLayouts/slideLayout925.xml"/><Relationship Id="rId261" Type="http://schemas.openxmlformats.org/officeDocument/2006/relationships/slideLayout" Target="../slideLayouts/slideLayout946.xml"/><Relationship Id="rId14" Type="http://schemas.openxmlformats.org/officeDocument/2006/relationships/slideLayout" Target="../slideLayouts/slideLayout699.xml"/><Relationship Id="rId35" Type="http://schemas.openxmlformats.org/officeDocument/2006/relationships/slideLayout" Target="../slideLayouts/slideLayout720.xml"/><Relationship Id="rId56" Type="http://schemas.openxmlformats.org/officeDocument/2006/relationships/slideLayout" Target="../slideLayouts/slideLayout741.xml"/><Relationship Id="rId77" Type="http://schemas.openxmlformats.org/officeDocument/2006/relationships/slideLayout" Target="../slideLayouts/slideLayout762.xml"/><Relationship Id="rId100" Type="http://schemas.openxmlformats.org/officeDocument/2006/relationships/slideLayout" Target="../slideLayouts/slideLayout785.xml"/><Relationship Id="rId8" Type="http://schemas.openxmlformats.org/officeDocument/2006/relationships/slideLayout" Target="../slideLayouts/slideLayout693.xml"/><Relationship Id="rId98" Type="http://schemas.openxmlformats.org/officeDocument/2006/relationships/slideLayout" Target="../slideLayouts/slideLayout783.xml"/><Relationship Id="rId121" Type="http://schemas.openxmlformats.org/officeDocument/2006/relationships/slideLayout" Target="../slideLayouts/slideLayout806.xml"/><Relationship Id="rId142" Type="http://schemas.openxmlformats.org/officeDocument/2006/relationships/slideLayout" Target="../slideLayouts/slideLayout827.xml"/><Relationship Id="rId163" Type="http://schemas.openxmlformats.org/officeDocument/2006/relationships/slideLayout" Target="../slideLayouts/slideLayout848.xml"/><Relationship Id="rId184" Type="http://schemas.openxmlformats.org/officeDocument/2006/relationships/slideLayout" Target="../slideLayouts/slideLayout869.xml"/><Relationship Id="rId219" Type="http://schemas.openxmlformats.org/officeDocument/2006/relationships/slideLayout" Target="../slideLayouts/slideLayout904.xml"/><Relationship Id="rId230" Type="http://schemas.openxmlformats.org/officeDocument/2006/relationships/slideLayout" Target="../slideLayouts/slideLayout915.xml"/><Relationship Id="rId251" Type="http://schemas.openxmlformats.org/officeDocument/2006/relationships/slideLayout" Target="../slideLayouts/slideLayout936.xml"/><Relationship Id="rId25" Type="http://schemas.openxmlformats.org/officeDocument/2006/relationships/slideLayout" Target="../slideLayouts/slideLayout710.xml"/><Relationship Id="rId46" Type="http://schemas.openxmlformats.org/officeDocument/2006/relationships/slideLayout" Target="../slideLayouts/slideLayout731.xml"/><Relationship Id="rId67" Type="http://schemas.openxmlformats.org/officeDocument/2006/relationships/slideLayout" Target="../slideLayouts/slideLayout752.xml"/><Relationship Id="rId272" Type="http://schemas.openxmlformats.org/officeDocument/2006/relationships/slideLayout" Target="../slideLayouts/slideLayout957.xml"/><Relationship Id="rId88" Type="http://schemas.openxmlformats.org/officeDocument/2006/relationships/slideLayout" Target="../slideLayouts/slideLayout773.xml"/><Relationship Id="rId111" Type="http://schemas.openxmlformats.org/officeDocument/2006/relationships/slideLayout" Target="../slideLayouts/slideLayout796.xml"/><Relationship Id="rId132" Type="http://schemas.openxmlformats.org/officeDocument/2006/relationships/slideLayout" Target="../slideLayouts/slideLayout817.xml"/><Relationship Id="rId153" Type="http://schemas.openxmlformats.org/officeDocument/2006/relationships/slideLayout" Target="../slideLayouts/slideLayout838.xml"/><Relationship Id="rId174" Type="http://schemas.openxmlformats.org/officeDocument/2006/relationships/slideLayout" Target="../slideLayouts/slideLayout859.xml"/><Relationship Id="rId195" Type="http://schemas.openxmlformats.org/officeDocument/2006/relationships/slideLayout" Target="../slideLayouts/slideLayout880.xml"/><Relationship Id="rId209" Type="http://schemas.openxmlformats.org/officeDocument/2006/relationships/slideLayout" Target="../slideLayouts/slideLayout894.xml"/><Relationship Id="rId220" Type="http://schemas.openxmlformats.org/officeDocument/2006/relationships/slideLayout" Target="../slideLayouts/slideLayout905.xml"/><Relationship Id="rId241" Type="http://schemas.openxmlformats.org/officeDocument/2006/relationships/slideLayout" Target="../slideLayouts/slideLayout926.xml"/><Relationship Id="rId15" Type="http://schemas.openxmlformats.org/officeDocument/2006/relationships/slideLayout" Target="../slideLayouts/slideLayout700.xml"/><Relationship Id="rId36" Type="http://schemas.openxmlformats.org/officeDocument/2006/relationships/slideLayout" Target="../slideLayouts/slideLayout721.xml"/><Relationship Id="rId57" Type="http://schemas.openxmlformats.org/officeDocument/2006/relationships/slideLayout" Target="../slideLayouts/slideLayout742.xml"/><Relationship Id="rId262" Type="http://schemas.openxmlformats.org/officeDocument/2006/relationships/slideLayout" Target="../slideLayouts/slideLayout947.xml"/><Relationship Id="rId78" Type="http://schemas.openxmlformats.org/officeDocument/2006/relationships/slideLayout" Target="../slideLayouts/slideLayout763.xml"/><Relationship Id="rId99" Type="http://schemas.openxmlformats.org/officeDocument/2006/relationships/slideLayout" Target="../slideLayouts/slideLayout784.xml"/><Relationship Id="rId101" Type="http://schemas.openxmlformats.org/officeDocument/2006/relationships/slideLayout" Target="../slideLayouts/slideLayout786.xml"/><Relationship Id="rId122" Type="http://schemas.openxmlformats.org/officeDocument/2006/relationships/slideLayout" Target="../slideLayouts/slideLayout807.xml"/><Relationship Id="rId143" Type="http://schemas.openxmlformats.org/officeDocument/2006/relationships/slideLayout" Target="../slideLayouts/slideLayout828.xml"/><Relationship Id="rId164" Type="http://schemas.openxmlformats.org/officeDocument/2006/relationships/slideLayout" Target="../slideLayouts/slideLayout849.xml"/><Relationship Id="rId185" Type="http://schemas.openxmlformats.org/officeDocument/2006/relationships/slideLayout" Target="../slideLayouts/slideLayout870.xml"/><Relationship Id="rId9" Type="http://schemas.openxmlformats.org/officeDocument/2006/relationships/slideLayout" Target="../slideLayouts/slideLayout694.xml"/><Relationship Id="rId210" Type="http://schemas.openxmlformats.org/officeDocument/2006/relationships/slideLayout" Target="../slideLayouts/slideLayout895.xml"/><Relationship Id="rId26" Type="http://schemas.openxmlformats.org/officeDocument/2006/relationships/slideLayout" Target="../slideLayouts/slideLayout711.xml"/><Relationship Id="rId231" Type="http://schemas.openxmlformats.org/officeDocument/2006/relationships/slideLayout" Target="../slideLayouts/slideLayout916.xml"/><Relationship Id="rId252" Type="http://schemas.openxmlformats.org/officeDocument/2006/relationships/slideLayout" Target="../slideLayouts/slideLayout937.xml"/><Relationship Id="rId273" Type="http://schemas.openxmlformats.org/officeDocument/2006/relationships/theme" Target="../theme/theme2.xml"/><Relationship Id="rId47" Type="http://schemas.openxmlformats.org/officeDocument/2006/relationships/slideLayout" Target="../slideLayouts/slideLayout732.xml"/><Relationship Id="rId68" Type="http://schemas.openxmlformats.org/officeDocument/2006/relationships/slideLayout" Target="../slideLayouts/slideLayout753.xml"/><Relationship Id="rId89" Type="http://schemas.openxmlformats.org/officeDocument/2006/relationships/slideLayout" Target="../slideLayouts/slideLayout774.xml"/><Relationship Id="rId112" Type="http://schemas.openxmlformats.org/officeDocument/2006/relationships/slideLayout" Target="../slideLayouts/slideLayout797.xml"/><Relationship Id="rId133" Type="http://schemas.openxmlformats.org/officeDocument/2006/relationships/slideLayout" Target="../slideLayouts/slideLayout818.xml"/><Relationship Id="rId154" Type="http://schemas.openxmlformats.org/officeDocument/2006/relationships/slideLayout" Target="../slideLayouts/slideLayout839.xml"/><Relationship Id="rId175" Type="http://schemas.openxmlformats.org/officeDocument/2006/relationships/slideLayout" Target="../slideLayouts/slideLayout860.xml"/><Relationship Id="rId196" Type="http://schemas.openxmlformats.org/officeDocument/2006/relationships/slideLayout" Target="../slideLayouts/slideLayout881.xml"/><Relationship Id="rId200" Type="http://schemas.openxmlformats.org/officeDocument/2006/relationships/slideLayout" Target="../slideLayouts/slideLayout885.xml"/><Relationship Id="rId16" Type="http://schemas.openxmlformats.org/officeDocument/2006/relationships/slideLayout" Target="../slideLayouts/slideLayout701.xml"/><Relationship Id="rId221" Type="http://schemas.openxmlformats.org/officeDocument/2006/relationships/slideLayout" Target="../slideLayouts/slideLayout906.xml"/><Relationship Id="rId242" Type="http://schemas.openxmlformats.org/officeDocument/2006/relationships/slideLayout" Target="../slideLayouts/slideLayout927.xml"/><Relationship Id="rId263" Type="http://schemas.openxmlformats.org/officeDocument/2006/relationships/slideLayout" Target="../slideLayouts/slideLayout948.xml"/><Relationship Id="rId37" Type="http://schemas.openxmlformats.org/officeDocument/2006/relationships/slideLayout" Target="../slideLayouts/slideLayout722.xml"/><Relationship Id="rId58" Type="http://schemas.openxmlformats.org/officeDocument/2006/relationships/slideLayout" Target="../slideLayouts/slideLayout743.xml"/><Relationship Id="rId79" Type="http://schemas.openxmlformats.org/officeDocument/2006/relationships/slideLayout" Target="../slideLayouts/slideLayout764.xml"/><Relationship Id="rId102" Type="http://schemas.openxmlformats.org/officeDocument/2006/relationships/slideLayout" Target="../slideLayouts/slideLayout787.xml"/><Relationship Id="rId123" Type="http://schemas.openxmlformats.org/officeDocument/2006/relationships/slideLayout" Target="../slideLayouts/slideLayout808.xml"/><Relationship Id="rId144" Type="http://schemas.openxmlformats.org/officeDocument/2006/relationships/slideLayout" Target="../slideLayouts/slideLayout829.xml"/><Relationship Id="rId90" Type="http://schemas.openxmlformats.org/officeDocument/2006/relationships/slideLayout" Target="../slideLayouts/slideLayout775.xml"/><Relationship Id="rId165" Type="http://schemas.openxmlformats.org/officeDocument/2006/relationships/slideLayout" Target="../slideLayouts/slideLayout850.xml"/><Relationship Id="rId186" Type="http://schemas.openxmlformats.org/officeDocument/2006/relationships/slideLayout" Target="../slideLayouts/slideLayout871.xml"/><Relationship Id="rId211" Type="http://schemas.openxmlformats.org/officeDocument/2006/relationships/slideLayout" Target="../slideLayouts/slideLayout896.xml"/><Relationship Id="rId232" Type="http://schemas.openxmlformats.org/officeDocument/2006/relationships/slideLayout" Target="../slideLayouts/slideLayout917.xml"/><Relationship Id="rId253" Type="http://schemas.openxmlformats.org/officeDocument/2006/relationships/slideLayout" Target="../slideLayouts/slideLayout938.xml"/><Relationship Id="rId27" Type="http://schemas.openxmlformats.org/officeDocument/2006/relationships/slideLayout" Target="../slideLayouts/slideLayout712.xml"/><Relationship Id="rId48" Type="http://schemas.openxmlformats.org/officeDocument/2006/relationships/slideLayout" Target="../slideLayouts/slideLayout733.xml"/><Relationship Id="rId69" Type="http://schemas.openxmlformats.org/officeDocument/2006/relationships/slideLayout" Target="../slideLayouts/slideLayout754.xml"/><Relationship Id="rId113" Type="http://schemas.openxmlformats.org/officeDocument/2006/relationships/slideLayout" Target="../slideLayouts/slideLayout798.xml"/><Relationship Id="rId134" Type="http://schemas.openxmlformats.org/officeDocument/2006/relationships/slideLayout" Target="../slideLayouts/slideLayout819.xml"/><Relationship Id="rId80" Type="http://schemas.openxmlformats.org/officeDocument/2006/relationships/slideLayout" Target="../slideLayouts/slideLayout765.xml"/><Relationship Id="rId155" Type="http://schemas.openxmlformats.org/officeDocument/2006/relationships/slideLayout" Target="../slideLayouts/slideLayout840.xml"/><Relationship Id="rId176" Type="http://schemas.openxmlformats.org/officeDocument/2006/relationships/slideLayout" Target="../slideLayouts/slideLayout861.xml"/><Relationship Id="rId197" Type="http://schemas.openxmlformats.org/officeDocument/2006/relationships/slideLayout" Target="../slideLayouts/slideLayout882.xml"/><Relationship Id="rId201" Type="http://schemas.openxmlformats.org/officeDocument/2006/relationships/slideLayout" Target="../slideLayouts/slideLayout886.xml"/><Relationship Id="rId222" Type="http://schemas.openxmlformats.org/officeDocument/2006/relationships/slideLayout" Target="../slideLayouts/slideLayout907.xml"/><Relationship Id="rId243" Type="http://schemas.openxmlformats.org/officeDocument/2006/relationships/slideLayout" Target="../slideLayouts/slideLayout928.xml"/><Relationship Id="rId264" Type="http://schemas.openxmlformats.org/officeDocument/2006/relationships/slideLayout" Target="../slideLayouts/slideLayout949.xml"/><Relationship Id="rId17" Type="http://schemas.openxmlformats.org/officeDocument/2006/relationships/slideLayout" Target="../slideLayouts/slideLayout702.xml"/><Relationship Id="rId38" Type="http://schemas.openxmlformats.org/officeDocument/2006/relationships/slideLayout" Target="../slideLayouts/slideLayout723.xml"/><Relationship Id="rId59" Type="http://schemas.openxmlformats.org/officeDocument/2006/relationships/slideLayout" Target="../slideLayouts/slideLayout744.xml"/><Relationship Id="rId103" Type="http://schemas.openxmlformats.org/officeDocument/2006/relationships/slideLayout" Target="../slideLayouts/slideLayout788.xml"/><Relationship Id="rId124" Type="http://schemas.openxmlformats.org/officeDocument/2006/relationships/slideLayout" Target="../slideLayouts/slideLayout809.xml"/><Relationship Id="rId70" Type="http://schemas.openxmlformats.org/officeDocument/2006/relationships/slideLayout" Target="../slideLayouts/slideLayout755.xml"/><Relationship Id="rId91" Type="http://schemas.openxmlformats.org/officeDocument/2006/relationships/slideLayout" Target="../slideLayouts/slideLayout776.xml"/><Relationship Id="rId145" Type="http://schemas.openxmlformats.org/officeDocument/2006/relationships/slideLayout" Target="../slideLayouts/slideLayout830.xml"/><Relationship Id="rId166" Type="http://schemas.openxmlformats.org/officeDocument/2006/relationships/slideLayout" Target="../slideLayouts/slideLayout851.xml"/><Relationship Id="rId187" Type="http://schemas.openxmlformats.org/officeDocument/2006/relationships/slideLayout" Target="../slideLayouts/slideLayout872.xml"/><Relationship Id="rId1" Type="http://schemas.openxmlformats.org/officeDocument/2006/relationships/slideLayout" Target="../slideLayouts/slideLayout686.xml"/><Relationship Id="rId212" Type="http://schemas.openxmlformats.org/officeDocument/2006/relationships/slideLayout" Target="../slideLayouts/slideLayout897.xml"/><Relationship Id="rId233" Type="http://schemas.openxmlformats.org/officeDocument/2006/relationships/slideLayout" Target="../slideLayouts/slideLayout918.xml"/><Relationship Id="rId254" Type="http://schemas.openxmlformats.org/officeDocument/2006/relationships/slideLayout" Target="../slideLayouts/slideLayout939.xml"/><Relationship Id="rId28" Type="http://schemas.openxmlformats.org/officeDocument/2006/relationships/slideLayout" Target="../slideLayouts/slideLayout713.xml"/><Relationship Id="rId49" Type="http://schemas.openxmlformats.org/officeDocument/2006/relationships/slideLayout" Target="../slideLayouts/slideLayout734.xml"/><Relationship Id="rId114" Type="http://schemas.openxmlformats.org/officeDocument/2006/relationships/slideLayout" Target="../slideLayouts/slideLayout799.xml"/><Relationship Id="rId60" Type="http://schemas.openxmlformats.org/officeDocument/2006/relationships/slideLayout" Target="../slideLayouts/slideLayout745.xml"/><Relationship Id="rId81" Type="http://schemas.openxmlformats.org/officeDocument/2006/relationships/slideLayout" Target="../slideLayouts/slideLayout766.xml"/><Relationship Id="rId135" Type="http://schemas.openxmlformats.org/officeDocument/2006/relationships/slideLayout" Target="../slideLayouts/slideLayout820.xml"/><Relationship Id="rId156" Type="http://schemas.openxmlformats.org/officeDocument/2006/relationships/slideLayout" Target="../slideLayouts/slideLayout841.xml"/><Relationship Id="rId177" Type="http://schemas.openxmlformats.org/officeDocument/2006/relationships/slideLayout" Target="../slideLayouts/slideLayout862.xml"/><Relationship Id="rId198" Type="http://schemas.openxmlformats.org/officeDocument/2006/relationships/slideLayout" Target="../slideLayouts/slideLayout883.xml"/><Relationship Id="rId202" Type="http://schemas.openxmlformats.org/officeDocument/2006/relationships/slideLayout" Target="../slideLayouts/slideLayout887.xml"/><Relationship Id="rId223" Type="http://schemas.openxmlformats.org/officeDocument/2006/relationships/slideLayout" Target="../slideLayouts/slideLayout908.xml"/><Relationship Id="rId244" Type="http://schemas.openxmlformats.org/officeDocument/2006/relationships/slideLayout" Target="../slideLayouts/slideLayout929.xml"/><Relationship Id="rId18" Type="http://schemas.openxmlformats.org/officeDocument/2006/relationships/slideLayout" Target="../slideLayouts/slideLayout703.xml"/><Relationship Id="rId39" Type="http://schemas.openxmlformats.org/officeDocument/2006/relationships/slideLayout" Target="../slideLayouts/slideLayout724.xml"/><Relationship Id="rId265" Type="http://schemas.openxmlformats.org/officeDocument/2006/relationships/slideLayout" Target="../slideLayouts/slideLayout950.xml"/><Relationship Id="rId50" Type="http://schemas.openxmlformats.org/officeDocument/2006/relationships/slideLayout" Target="../slideLayouts/slideLayout735.xml"/><Relationship Id="rId104" Type="http://schemas.openxmlformats.org/officeDocument/2006/relationships/slideLayout" Target="../slideLayouts/slideLayout789.xml"/><Relationship Id="rId125" Type="http://schemas.openxmlformats.org/officeDocument/2006/relationships/slideLayout" Target="../slideLayouts/slideLayout810.xml"/><Relationship Id="rId146" Type="http://schemas.openxmlformats.org/officeDocument/2006/relationships/slideLayout" Target="../slideLayouts/slideLayout831.xml"/><Relationship Id="rId167" Type="http://schemas.openxmlformats.org/officeDocument/2006/relationships/slideLayout" Target="../slideLayouts/slideLayout852.xml"/><Relationship Id="rId188" Type="http://schemas.openxmlformats.org/officeDocument/2006/relationships/slideLayout" Target="../slideLayouts/slideLayout873.xml"/><Relationship Id="rId71" Type="http://schemas.openxmlformats.org/officeDocument/2006/relationships/slideLayout" Target="../slideLayouts/slideLayout756.xml"/><Relationship Id="rId92" Type="http://schemas.openxmlformats.org/officeDocument/2006/relationships/slideLayout" Target="../slideLayouts/slideLayout777.xml"/><Relationship Id="rId213" Type="http://schemas.openxmlformats.org/officeDocument/2006/relationships/slideLayout" Target="../slideLayouts/slideLayout898.xml"/><Relationship Id="rId234" Type="http://schemas.openxmlformats.org/officeDocument/2006/relationships/slideLayout" Target="../slideLayouts/slideLayout919.xml"/><Relationship Id="rId2" Type="http://schemas.openxmlformats.org/officeDocument/2006/relationships/slideLayout" Target="../slideLayouts/slideLayout687.xml"/><Relationship Id="rId29" Type="http://schemas.openxmlformats.org/officeDocument/2006/relationships/slideLayout" Target="../slideLayouts/slideLayout714.xml"/><Relationship Id="rId255" Type="http://schemas.openxmlformats.org/officeDocument/2006/relationships/slideLayout" Target="../slideLayouts/slideLayout940.xml"/><Relationship Id="rId40" Type="http://schemas.openxmlformats.org/officeDocument/2006/relationships/slideLayout" Target="../slideLayouts/slideLayout725.xml"/><Relationship Id="rId115" Type="http://schemas.openxmlformats.org/officeDocument/2006/relationships/slideLayout" Target="../slideLayouts/slideLayout800.xml"/><Relationship Id="rId136" Type="http://schemas.openxmlformats.org/officeDocument/2006/relationships/slideLayout" Target="../slideLayouts/slideLayout821.xml"/><Relationship Id="rId157" Type="http://schemas.openxmlformats.org/officeDocument/2006/relationships/slideLayout" Target="../slideLayouts/slideLayout842.xml"/><Relationship Id="rId178" Type="http://schemas.openxmlformats.org/officeDocument/2006/relationships/slideLayout" Target="../slideLayouts/slideLayout863.xml"/><Relationship Id="rId61" Type="http://schemas.openxmlformats.org/officeDocument/2006/relationships/slideLayout" Target="../slideLayouts/slideLayout746.xml"/><Relationship Id="rId82" Type="http://schemas.openxmlformats.org/officeDocument/2006/relationships/slideLayout" Target="../slideLayouts/slideLayout767.xml"/><Relationship Id="rId199" Type="http://schemas.openxmlformats.org/officeDocument/2006/relationships/slideLayout" Target="../slideLayouts/slideLayout884.xml"/><Relationship Id="rId203" Type="http://schemas.openxmlformats.org/officeDocument/2006/relationships/slideLayout" Target="../slideLayouts/slideLayout888.xml"/><Relationship Id="rId19" Type="http://schemas.openxmlformats.org/officeDocument/2006/relationships/slideLayout" Target="../slideLayouts/slideLayout704.xml"/><Relationship Id="rId224" Type="http://schemas.openxmlformats.org/officeDocument/2006/relationships/slideLayout" Target="../slideLayouts/slideLayout909.xml"/><Relationship Id="rId245" Type="http://schemas.openxmlformats.org/officeDocument/2006/relationships/slideLayout" Target="../slideLayouts/slideLayout930.xml"/><Relationship Id="rId266" Type="http://schemas.openxmlformats.org/officeDocument/2006/relationships/slideLayout" Target="../slideLayouts/slideLayout951.xml"/><Relationship Id="rId30" Type="http://schemas.openxmlformats.org/officeDocument/2006/relationships/slideLayout" Target="../slideLayouts/slideLayout715.xml"/><Relationship Id="rId105" Type="http://schemas.openxmlformats.org/officeDocument/2006/relationships/slideLayout" Target="../slideLayouts/slideLayout790.xml"/><Relationship Id="rId126" Type="http://schemas.openxmlformats.org/officeDocument/2006/relationships/slideLayout" Target="../slideLayouts/slideLayout811.xml"/><Relationship Id="rId147" Type="http://schemas.openxmlformats.org/officeDocument/2006/relationships/slideLayout" Target="../slideLayouts/slideLayout832.xml"/><Relationship Id="rId168" Type="http://schemas.openxmlformats.org/officeDocument/2006/relationships/slideLayout" Target="../slideLayouts/slideLayout853.xml"/><Relationship Id="rId51" Type="http://schemas.openxmlformats.org/officeDocument/2006/relationships/slideLayout" Target="../slideLayouts/slideLayout736.xml"/><Relationship Id="rId72" Type="http://schemas.openxmlformats.org/officeDocument/2006/relationships/slideLayout" Target="../slideLayouts/slideLayout757.xml"/><Relationship Id="rId93" Type="http://schemas.openxmlformats.org/officeDocument/2006/relationships/slideLayout" Target="../slideLayouts/slideLayout778.xml"/><Relationship Id="rId189" Type="http://schemas.openxmlformats.org/officeDocument/2006/relationships/slideLayout" Target="../slideLayouts/slideLayout874.xml"/><Relationship Id="rId3" Type="http://schemas.openxmlformats.org/officeDocument/2006/relationships/slideLayout" Target="../slideLayouts/slideLayout688.xml"/><Relationship Id="rId214" Type="http://schemas.openxmlformats.org/officeDocument/2006/relationships/slideLayout" Target="../slideLayouts/slideLayout899.xml"/><Relationship Id="rId235" Type="http://schemas.openxmlformats.org/officeDocument/2006/relationships/slideLayout" Target="../slideLayouts/slideLayout920.xml"/><Relationship Id="rId256" Type="http://schemas.openxmlformats.org/officeDocument/2006/relationships/slideLayout" Target="../slideLayouts/slideLayout941.xml"/><Relationship Id="rId116" Type="http://schemas.openxmlformats.org/officeDocument/2006/relationships/slideLayout" Target="../slideLayouts/slideLayout801.xml"/><Relationship Id="rId137" Type="http://schemas.openxmlformats.org/officeDocument/2006/relationships/slideLayout" Target="../slideLayouts/slideLayout822.xml"/><Relationship Id="rId158" Type="http://schemas.openxmlformats.org/officeDocument/2006/relationships/slideLayout" Target="../slideLayouts/slideLayout843.xml"/><Relationship Id="rId20" Type="http://schemas.openxmlformats.org/officeDocument/2006/relationships/slideLayout" Target="../slideLayouts/slideLayout705.xml"/><Relationship Id="rId41" Type="http://schemas.openxmlformats.org/officeDocument/2006/relationships/slideLayout" Target="../slideLayouts/slideLayout726.xml"/><Relationship Id="rId62" Type="http://schemas.openxmlformats.org/officeDocument/2006/relationships/slideLayout" Target="../slideLayouts/slideLayout747.xml"/><Relationship Id="rId83" Type="http://schemas.openxmlformats.org/officeDocument/2006/relationships/slideLayout" Target="../slideLayouts/slideLayout768.xml"/><Relationship Id="rId179" Type="http://schemas.openxmlformats.org/officeDocument/2006/relationships/slideLayout" Target="../slideLayouts/slideLayout864.xml"/><Relationship Id="rId190" Type="http://schemas.openxmlformats.org/officeDocument/2006/relationships/slideLayout" Target="../slideLayouts/slideLayout875.xml"/><Relationship Id="rId204" Type="http://schemas.openxmlformats.org/officeDocument/2006/relationships/slideLayout" Target="../slideLayouts/slideLayout889.xml"/><Relationship Id="rId225" Type="http://schemas.openxmlformats.org/officeDocument/2006/relationships/slideLayout" Target="../slideLayouts/slideLayout910.xml"/><Relationship Id="rId246" Type="http://schemas.openxmlformats.org/officeDocument/2006/relationships/slideLayout" Target="../slideLayouts/slideLayout931.xml"/><Relationship Id="rId267" Type="http://schemas.openxmlformats.org/officeDocument/2006/relationships/slideLayout" Target="../slideLayouts/slideLayout952.xml"/><Relationship Id="rId106" Type="http://schemas.openxmlformats.org/officeDocument/2006/relationships/slideLayout" Target="../slideLayouts/slideLayout791.xml"/><Relationship Id="rId127" Type="http://schemas.openxmlformats.org/officeDocument/2006/relationships/slideLayout" Target="../slideLayouts/slideLayout812.xml"/><Relationship Id="rId10" Type="http://schemas.openxmlformats.org/officeDocument/2006/relationships/slideLayout" Target="../slideLayouts/slideLayout695.xml"/><Relationship Id="rId31" Type="http://schemas.openxmlformats.org/officeDocument/2006/relationships/slideLayout" Target="../slideLayouts/slideLayout716.xml"/><Relationship Id="rId52" Type="http://schemas.openxmlformats.org/officeDocument/2006/relationships/slideLayout" Target="../slideLayouts/slideLayout737.xml"/><Relationship Id="rId73" Type="http://schemas.openxmlformats.org/officeDocument/2006/relationships/slideLayout" Target="../slideLayouts/slideLayout758.xml"/><Relationship Id="rId94" Type="http://schemas.openxmlformats.org/officeDocument/2006/relationships/slideLayout" Target="../slideLayouts/slideLayout779.xml"/><Relationship Id="rId148" Type="http://schemas.openxmlformats.org/officeDocument/2006/relationships/slideLayout" Target="../slideLayouts/slideLayout833.xml"/><Relationship Id="rId169" Type="http://schemas.openxmlformats.org/officeDocument/2006/relationships/slideLayout" Target="../slideLayouts/slideLayout854.xml"/><Relationship Id="rId4" Type="http://schemas.openxmlformats.org/officeDocument/2006/relationships/slideLayout" Target="../slideLayouts/slideLayout689.xml"/><Relationship Id="rId180" Type="http://schemas.openxmlformats.org/officeDocument/2006/relationships/slideLayout" Target="../slideLayouts/slideLayout865.xml"/><Relationship Id="rId215" Type="http://schemas.openxmlformats.org/officeDocument/2006/relationships/slideLayout" Target="../slideLayouts/slideLayout900.xml"/><Relationship Id="rId236" Type="http://schemas.openxmlformats.org/officeDocument/2006/relationships/slideLayout" Target="../slideLayouts/slideLayout921.xml"/><Relationship Id="rId257" Type="http://schemas.openxmlformats.org/officeDocument/2006/relationships/slideLayout" Target="../slideLayouts/slideLayout942.xml"/><Relationship Id="rId42" Type="http://schemas.openxmlformats.org/officeDocument/2006/relationships/slideLayout" Target="../slideLayouts/slideLayout727.xml"/><Relationship Id="rId84" Type="http://schemas.openxmlformats.org/officeDocument/2006/relationships/slideLayout" Target="../slideLayouts/slideLayout769.xml"/><Relationship Id="rId138" Type="http://schemas.openxmlformats.org/officeDocument/2006/relationships/slideLayout" Target="../slideLayouts/slideLayout823.xml"/><Relationship Id="rId191" Type="http://schemas.openxmlformats.org/officeDocument/2006/relationships/slideLayout" Target="../slideLayouts/slideLayout876.xml"/><Relationship Id="rId205" Type="http://schemas.openxmlformats.org/officeDocument/2006/relationships/slideLayout" Target="../slideLayouts/slideLayout890.xml"/><Relationship Id="rId247" Type="http://schemas.openxmlformats.org/officeDocument/2006/relationships/slideLayout" Target="../slideLayouts/slideLayout932.xml"/><Relationship Id="rId107" Type="http://schemas.openxmlformats.org/officeDocument/2006/relationships/slideLayout" Target="../slideLayouts/slideLayout792.xml"/><Relationship Id="rId11" Type="http://schemas.openxmlformats.org/officeDocument/2006/relationships/slideLayout" Target="../slideLayouts/slideLayout696.xml"/><Relationship Id="rId53" Type="http://schemas.openxmlformats.org/officeDocument/2006/relationships/slideLayout" Target="../slideLayouts/slideLayout738.xml"/><Relationship Id="rId149" Type="http://schemas.openxmlformats.org/officeDocument/2006/relationships/slideLayout" Target="../slideLayouts/slideLayout83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5.xml"/><Relationship Id="rId3" Type="http://schemas.openxmlformats.org/officeDocument/2006/relationships/slideLayout" Target="../slideLayouts/slideLayout960.xml"/><Relationship Id="rId7" Type="http://schemas.openxmlformats.org/officeDocument/2006/relationships/slideLayout" Target="../slideLayouts/slideLayout96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959.xml"/><Relationship Id="rId1" Type="http://schemas.openxmlformats.org/officeDocument/2006/relationships/slideLayout" Target="../slideLayouts/slideLayout958.xml"/><Relationship Id="rId6" Type="http://schemas.openxmlformats.org/officeDocument/2006/relationships/slideLayout" Target="../slideLayouts/slideLayout963.xml"/><Relationship Id="rId11" Type="http://schemas.openxmlformats.org/officeDocument/2006/relationships/slideLayout" Target="../slideLayouts/slideLayout968.xml"/><Relationship Id="rId5" Type="http://schemas.openxmlformats.org/officeDocument/2006/relationships/slideLayout" Target="../slideLayouts/slideLayout962.xml"/><Relationship Id="rId10" Type="http://schemas.openxmlformats.org/officeDocument/2006/relationships/slideLayout" Target="../slideLayouts/slideLayout967.xml"/><Relationship Id="rId4" Type="http://schemas.openxmlformats.org/officeDocument/2006/relationships/slideLayout" Target="../slideLayouts/slideLayout961.xml"/><Relationship Id="rId9" Type="http://schemas.openxmlformats.org/officeDocument/2006/relationships/slideLayout" Target="../slideLayouts/slideLayout9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78073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028" r:id="rId1"/>
    <p:sldLayoutId id="2147487714" r:id="rId2"/>
    <p:sldLayoutId id="2147487029" r:id="rId3"/>
    <p:sldLayoutId id="2147487715" r:id="rId4"/>
    <p:sldLayoutId id="2147487031" r:id="rId5"/>
    <p:sldLayoutId id="2147487716" r:id="rId6"/>
    <p:sldLayoutId id="2147487717" r:id="rId7"/>
    <p:sldLayoutId id="2147487718" r:id="rId8"/>
    <p:sldLayoutId id="2147487719" r:id="rId9"/>
    <p:sldLayoutId id="2147487646" r:id="rId10"/>
    <p:sldLayoutId id="2147487030" r:id="rId11"/>
    <p:sldLayoutId id="2147487647" r:id="rId12"/>
    <p:sldLayoutId id="2147487032" r:id="rId13"/>
    <p:sldLayoutId id="2147487033" r:id="rId14"/>
    <p:sldLayoutId id="2147487034" r:id="rId15"/>
    <p:sldLayoutId id="2147487035" r:id="rId16"/>
    <p:sldLayoutId id="2147487036" r:id="rId17"/>
    <p:sldLayoutId id="2147487037" r:id="rId18"/>
    <p:sldLayoutId id="2147487038" r:id="rId19"/>
    <p:sldLayoutId id="2147487648" r:id="rId20"/>
    <p:sldLayoutId id="2147487179" r:id="rId21"/>
    <p:sldLayoutId id="2147483676" r:id="rId22"/>
    <p:sldLayoutId id="2147487720" r:id="rId23"/>
    <p:sldLayoutId id="2147487243" r:id="rId24"/>
    <p:sldLayoutId id="2147487777" r:id="rId25"/>
    <p:sldLayoutId id="2147487778" r:id="rId26"/>
    <p:sldLayoutId id="2147483681" r:id="rId27"/>
    <p:sldLayoutId id="2147487040" r:id="rId28"/>
    <p:sldLayoutId id="2147487723" r:id="rId29"/>
    <p:sldLayoutId id="2147487247" r:id="rId30"/>
    <p:sldLayoutId id="2147487248" r:id="rId31"/>
    <p:sldLayoutId id="2147487780" r:id="rId32"/>
    <p:sldLayoutId id="2147487725" r:id="rId33"/>
    <p:sldLayoutId id="2147487781" r:id="rId34"/>
    <p:sldLayoutId id="2147487649" r:id="rId35"/>
    <p:sldLayoutId id="2147487039" r:id="rId36"/>
    <p:sldLayoutId id="2147487182" r:id="rId37"/>
    <p:sldLayoutId id="2147487183" r:id="rId38"/>
    <p:sldLayoutId id="2147487184" r:id="rId39"/>
    <p:sldLayoutId id="2147483975" r:id="rId40"/>
    <p:sldLayoutId id="2147487650" r:id="rId41"/>
    <p:sldLayoutId id="2147487651" r:id="rId42"/>
    <p:sldLayoutId id="2147487041" r:id="rId43"/>
    <p:sldLayoutId id="2147487188" r:id="rId44"/>
    <p:sldLayoutId id="2147487189" r:id="rId45"/>
    <p:sldLayoutId id="2147487190" r:id="rId46"/>
    <p:sldLayoutId id="2147487042" r:id="rId47"/>
    <p:sldLayoutId id="2147487192" r:id="rId48"/>
    <p:sldLayoutId id="2147487193" r:id="rId49"/>
    <p:sldLayoutId id="2147487043" r:id="rId50"/>
    <p:sldLayoutId id="2147487044" r:id="rId51"/>
    <p:sldLayoutId id="2147487652" r:id="rId52"/>
    <p:sldLayoutId id="2147487046" r:id="rId53"/>
    <p:sldLayoutId id="2147487047" r:id="rId54"/>
    <p:sldLayoutId id="2147487048" r:id="rId55"/>
    <p:sldLayoutId id="2147487049" r:id="rId56"/>
    <p:sldLayoutId id="2147487050" r:id="rId57"/>
    <p:sldLayoutId id="2147487051" r:id="rId58"/>
    <p:sldLayoutId id="2147487052" r:id="rId59"/>
    <p:sldLayoutId id="2147487653" r:id="rId60"/>
    <p:sldLayoutId id="2147487053" r:id="rId61"/>
    <p:sldLayoutId id="2147487654" r:id="rId62"/>
    <p:sldLayoutId id="2147487207" r:id="rId63"/>
    <p:sldLayoutId id="2147487208" r:id="rId64"/>
    <p:sldLayoutId id="2147487209" r:id="rId65"/>
    <p:sldLayoutId id="2147487210" r:id="rId66"/>
    <p:sldLayoutId id="2147487211" r:id="rId67"/>
    <p:sldLayoutId id="2147487212" r:id="rId68"/>
    <p:sldLayoutId id="2147487213" r:id="rId69"/>
    <p:sldLayoutId id="2147487214" r:id="rId70"/>
    <p:sldLayoutId id="2147483711" r:id="rId71"/>
    <p:sldLayoutId id="2147483712" r:id="rId72"/>
    <p:sldLayoutId id="2147487783" r:id="rId73"/>
    <p:sldLayoutId id="2147487257" r:id="rId74"/>
    <p:sldLayoutId id="2147487258" r:id="rId75"/>
    <p:sldLayoutId id="2147487784" r:id="rId76"/>
    <p:sldLayoutId id="2147483717" r:id="rId77"/>
    <p:sldLayoutId id="2147483718" r:id="rId78"/>
    <p:sldLayoutId id="2147483719" r:id="rId79"/>
    <p:sldLayoutId id="2147487263" r:id="rId80"/>
    <p:sldLayoutId id="2147483721" r:id="rId81"/>
    <p:sldLayoutId id="2147487215" r:id="rId82"/>
    <p:sldLayoutId id="2147487225" r:id="rId83"/>
    <p:sldLayoutId id="2147487226" r:id="rId84"/>
    <p:sldLayoutId id="2147487759" r:id="rId85"/>
    <p:sldLayoutId id="2147487655" r:id="rId86"/>
    <p:sldLayoutId id="2147487656" r:id="rId87"/>
    <p:sldLayoutId id="2147487058" r:id="rId88"/>
    <p:sldLayoutId id="2147487761" r:id="rId89"/>
    <p:sldLayoutId id="2147487762" r:id="rId90"/>
    <p:sldLayoutId id="2147487763" r:id="rId91"/>
    <p:sldLayoutId id="2147487764" r:id="rId92"/>
    <p:sldLayoutId id="2147487235" r:id="rId93"/>
    <p:sldLayoutId id="2147487236" r:id="rId94"/>
    <p:sldLayoutId id="2147487760" r:id="rId95"/>
    <p:sldLayoutId id="2147487657" r:id="rId96"/>
    <p:sldLayoutId id="2147487060" r:id="rId97"/>
    <p:sldLayoutId id="2147487061" r:id="rId98"/>
    <p:sldLayoutId id="2147487062" r:id="rId99"/>
    <p:sldLayoutId id="2147487765" r:id="rId100"/>
    <p:sldLayoutId id="2147487063" r:id="rId101"/>
    <p:sldLayoutId id="2147487721" r:id="rId102"/>
    <p:sldLayoutId id="2147487722" r:id="rId103"/>
    <p:sldLayoutId id="2147487769" r:id="rId104"/>
    <p:sldLayoutId id="2147487064" r:id="rId105"/>
    <p:sldLayoutId id="2147487658" r:id="rId106"/>
    <p:sldLayoutId id="2147487724" r:id="rId107"/>
    <p:sldLayoutId id="2147487726" r:id="rId108"/>
    <p:sldLayoutId id="2147487251" r:id="rId109"/>
    <p:sldLayoutId id="2147487252" r:id="rId110"/>
    <p:sldLayoutId id="2147487659" r:id="rId111"/>
    <p:sldLayoutId id="2147487065" r:id="rId112"/>
    <p:sldLayoutId id="2147487066" r:id="rId113"/>
    <p:sldLayoutId id="2147487067" r:id="rId114"/>
    <p:sldLayoutId id="2147487068" r:id="rId115"/>
    <p:sldLayoutId id="2147487660" r:id="rId116"/>
    <p:sldLayoutId id="2147487070" r:id="rId117"/>
    <p:sldLayoutId id="2147487071" r:id="rId118"/>
    <p:sldLayoutId id="2147487072" r:id="rId119"/>
    <p:sldLayoutId id="2147487073" r:id="rId120"/>
    <p:sldLayoutId id="2147487074" r:id="rId121"/>
    <p:sldLayoutId id="2147487075" r:id="rId122"/>
    <p:sldLayoutId id="2147487661" r:id="rId123"/>
    <p:sldLayoutId id="2147487265" r:id="rId124"/>
    <p:sldLayoutId id="2147487266" r:id="rId125"/>
    <p:sldLayoutId id="2147487076" r:id="rId126"/>
    <p:sldLayoutId id="2147487078" r:id="rId127"/>
    <p:sldLayoutId id="2147487270" r:id="rId128"/>
    <p:sldLayoutId id="2147487271" r:id="rId129"/>
    <p:sldLayoutId id="2147487272" r:id="rId130"/>
    <p:sldLayoutId id="2147487273" r:id="rId131"/>
    <p:sldLayoutId id="2147487274" r:id="rId132"/>
    <p:sldLayoutId id="2147487275" r:id="rId133"/>
    <p:sldLayoutId id="2147487276" r:id="rId134"/>
    <p:sldLayoutId id="2147487662" r:id="rId135"/>
    <p:sldLayoutId id="2147487079" r:id="rId136"/>
    <p:sldLayoutId id="2147487663" r:id="rId137"/>
    <p:sldLayoutId id="2147487081" r:id="rId138"/>
    <p:sldLayoutId id="2147487082" r:id="rId139"/>
    <p:sldLayoutId id="2147487083" r:id="rId140"/>
    <p:sldLayoutId id="2147487084" r:id="rId141"/>
    <p:sldLayoutId id="2147487085" r:id="rId142"/>
    <p:sldLayoutId id="2147487086" r:id="rId143"/>
    <p:sldLayoutId id="2147487087" r:id="rId144"/>
    <p:sldLayoutId id="2147487088" r:id="rId145"/>
    <p:sldLayoutId id="2147487089" r:id="rId146"/>
    <p:sldLayoutId id="2147487090" r:id="rId147"/>
    <p:sldLayoutId id="2147487299" r:id="rId148"/>
    <p:sldLayoutId id="2147487300" r:id="rId149"/>
    <p:sldLayoutId id="2147487301" r:id="rId150"/>
    <p:sldLayoutId id="2147487302" r:id="rId151"/>
    <p:sldLayoutId id="2147487303" r:id="rId152"/>
    <p:sldLayoutId id="2147487805" r:id="rId153"/>
    <p:sldLayoutId id="2147487794" r:id="rId154"/>
    <p:sldLayoutId id="2147487793" r:id="rId155"/>
    <p:sldLayoutId id="2147487307" r:id="rId156"/>
    <p:sldLayoutId id="2147487308" r:id="rId157"/>
    <p:sldLayoutId id="2147487789" r:id="rId158"/>
    <p:sldLayoutId id="2147487092" r:id="rId159"/>
    <p:sldLayoutId id="2147487782" r:id="rId160"/>
    <p:sldLayoutId id="2147487312" r:id="rId161"/>
    <p:sldLayoutId id="2147487790" r:id="rId162"/>
    <p:sldLayoutId id="2147487314" r:id="rId163"/>
    <p:sldLayoutId id="2147487315" r:id="rId164"/>
    <p:sldLayoutId id="2147487791" r:id="rId165"/>
    <p:sldLayoutId id="2147487093" r:id="rId166"/>
    <p:sldLayoutId id="2147487792" r:id="rId167"/>
    <p:sldLayoutId id="2147487318" r:id="rId168"/>
    <p:sldLayoutId id="2147487733" r:id="rId169"/>
    <p:sldLayoutId id="2147487116" r:id="rId170"/>
    <p:sldLayoutId id="2147487117" r:id="rId171"/>
    <p:sldLayoutId id="2147487664" r:id="rId172"/>
    <p:sldLayoutId id="2147487098" r:id="rId173"/>
    <p:sldLayoutId id="2147487665" r:id="rId174"/>
    <p:sldLayoutId id="2147487104" r:id="rId175"/>
    <p:sldLayoutId id="2147487326" r:id="rId176"/>
    <p:sldLayoutId id="2147487105" r:id="rId177"/>
    <p:sldLayoutId id="2147487666" r:id="rId178"/>
    <p:sldLayoutId id="2147487667" r:id="rId179"/>
    <p:sldLayoutId id="2147487108" r:id="rId180"/>
    <p:sldLayoutId id="2147487109" r:id="rId181"/>
    <p:sldLayoutId id="2147487110" r:id="rId182"/>
    <p:sldLayoutId id="2147487111" r:id="rId183"/>
    <p:sldLayoutId id="2147487112" r:id="rId184"/>
    <p:sldLayoutId id="2147487113" r:id="rId185"/>
    <p:sldLayoutId id="2147487668" r:id="rId186"/>
    <p:sldLayoutId id="2147487669" r:id="rId187"/>
    <p:sldLayoutId id="2147487670" r:id="rId188"/>
    <p:sldLayoutId id="2147487671" r:id="rId189"/>
    <p:sldLayoutId id="2147487122" r:id="rId190"/>
    <p:sldLayoutId id="2147487123" r:id="rId191"/>
    <p:sldLayoutId id="2147487346" r:id="rId192"/>
    <p:sldLayoutId id="2147487672" r:id="rId193"/>
    <p:sldLayoutId id="2147487348" r:id="rId194"/>
    <p:sldLayoutId id="2147487349" r:id="rId195"/>
    <p:sldLayoutId id="2147483847" r:id="rId196"/>
    <p:sldLayoutId id="2147483848" r:id="rId197"/>
    <p:sldLayoutId id="2147483849" r:id="rId198"/>
    <p:sldLayoutId id="2147483850" r:id="rId199"/>
    <p:sldLayoutId id="2147487332" r:id="rId200"/>
    <p:sldLayoutId id="2147487333" r:id="rId201"/>
    <p:sldLayoutId id="2147487334" r:id="rId202"/>
    <p:sldLayoutId id="2147487335" r:id="rId203"/>
    <p:sldLayoutId id="2147487336" r:id="rId204"/>
    <p:sldLayoutId id="2147487337" r:id="rId205"/>
    <p:sldLayoutId id="2147487338" r:id="rId206"/>
    <p:sldLayoutId id="2147487339" r:id="rId207"/>
    <p:sldLayoutId id="2147487340" r:id="rId208"/>
    <p:sldLayoutId id="2147487005" r:id="rId209"/>
    <p:sldLayoutId id="2147487342" r:id="rId210"/>
    <p:sldLayoutId id="2147483862" r:id="rId211"/>
    <p:sldLayoutId id="2147483863" r:id="rId212"/>
    <p:sldLayoutId id="2147483864" r:id="rId213"/>
    <p:sldLayoutId id="2147487673" r:id="rId214"/>
    <p:sldLayoutId id="2147483866" r:id="rId215"/>
    <p:sldLayoutId id="2147483867" r:id="rId216"/>
    <p:sldLayoutId id="2147483868" r:id="rId217"/>
    <p:sldLayoutId id="2147483869" r:id="rId218"/>
    <p:sldLayoutId id="2147483870" r:id="rId219"/>
    <p:sldLayoutId id="2147483871" r:id="rId220"/>
    <p:sldLayoutId id="2147487674" r:id="rId221"/>
    <p:sldLayoutId id="2147487795" r:id="rId222"/>
    <p:sldLayoutId id="2147487796" r:id="rId223"/>
    <p:sldLayoutId id="2147483875" r:id="rId224"/>
    <p:sldLayoutId id="2147483876" r:id="rId225"/>
    <p:sldLayoutId id="2147483877" r:id="rId226"/>
    <p:sldLayoutId id="2147483878" r:id="rId227"/>
    <p:sldLayoutId id="2147483879" r:id="rId228"/>
    <p:sldLayoutId id="2147483880" r:id="rId229"/>
    <p:sldLayoutId id="2147483881" r:id="rId230"/>
    <p:sldLayoutId id="2147483882" r:id="rId231"/>
    <p:sldLayoutId id="2147483883" r:id="rId232"/>
    <p:sldLayoutId id="2147483884" r:id="rId233"/>
    <p:sldLayoutId id="2147483885" r:id="rId234"/>
    <p:sldLayoutId id="2147483886" r:id="rId235"/>
    <p:sldLayoutId id="2147483887" r:id="rId236"/>
    <p:sldLayoutId id="2147483888" r:id="rId237"/>
    <p:sldLayoutId id="2147483889" r:id="rId238"/>
    <p:sldLayoutId id="2147483890" r:id="rId239"/>
    <p:sldLayoutId id="2147483891" r:id="rId240"/>
    <p:sldLayoutId id="2147483892" r:id="rId241"/>
    <p:sldLayoutId id="2147483893" r:id="rId242"/>
    <p:sldLayoutId id="2147483894" r:id="rId243"/>
    <p:sldLayoutId id="2147483897" r:id="rId244"/>
    <p:sldLayoutId id="2147483898" r:id="rId245"/>
    <p:sldLayoutId id="2147483899" r:id="rId246"/>
    <p:sldLayoutId id="2147487797" r:id="rId247"/>
    <p:sldLayoutId id="2147487798" r:id="rId248"/>
    <p:sldLayoutId id="2147487799" r:id="rId249"/>
    <p:sldLayoutId id="2147487800" r:id="rId250"/>
    <p:sldLayoutId id="2147487801" r:id="rId251"/>
    <p:sldLayoutId id="2147483900" r:id="rId252"/>
    <p:sldLayoutId id="2147483901" r:id="rId253"/>
    <p:sldLayoutId id="2147483902" r:id="rId254"/>
    <p:sldLayoutId id="2147483903" r:id="rId255"/>
    <p:sldLayoutId id="2147487802" r:id="rId256"/>
    <p:sldLayoutId id="2147487803" r:id="rId257"/>
    <p:sldLayoutId id="2147487804" r:id="rId258"/>
    <p:sldLayoutId id="2147487384" r:id="rId259"/>
    <p:sldLayoutId id="2147487126" r:id="rId260"/>
    <p:sldLayoutId id="2147487127" r:id="rId261"/>
    <p:sldLayoutId id="2147487128" r:id="rId262"/>
    <p:sldLayoutId id="2147487129" r:id="rId263"/>
    <p:sldLayoutId id="2147487130" r:id="rId264"/>
    <p:sldLayoutId id="2147487131" r:id="rId265"/>
    <p:sldLayoutId id="2147487132" r:id="rId266"/>
    <p:sldLayoutId id="2147487133" r:id="rId267"/>
    <p:sldLayoutId id="2147487134" r:id="rId268"/>
    <p:sldLayoutId id="2147487675" r:id="rId269"/>
    <p:sldLayoutId id="2147487136" r:id="rId270"/>
    <p:sldLayoutId id="2147487137" r:id="rId271"/>
    <p:sldLayoutId id="2147487138" r:id="rId272"/>
    <p:sldLayoutId id="2147487139" r:id="rId273"/>
    <p:sldLayoutId id="2147487140" r:id="rId274"/>
    <p:sldLayoutId id="2147487141" r:id="rId275"/>
    <p:sldLayoutId id="2147483934" r:id="rId276"/>
    <p:sldLayoutId id="2147483935" r:id="rId277"/>
    <p:sldLayoutId id="2147483936" r:id="rId278"/>
    <p:sldLayoutId id="2147487747" r:id="rId279"/>
    <p:sldLayoutId id="2147486987" r:id="rId280"/>
    <p:sldLayoutId id="2147487748" r:id="rId281"/>
    <p:sldLayoutId id="2147486279" r:id="rId282"/>
    <p:sldLayoutId id="2147487749" r:id="rId283"/>
    <p:sldLayoutId id="2147487750" r:id="rId284"/>
    <p:sldLayoutId id="2147487262" r:id="rId285"/>
    <p:sldLayoutId id="2147487751" r:id="rId286"/>
    <p:sldLayoutId id="2147486961" r:id="rId287"/>
    <p:sldLayoutId id="2147487676" r:id="rId288"/>
    <p:sldLayoutId id="2147486278" r:id="rId289"/>
    <p:sldLayoutId id="2147487677" r:id="rId290"/>
    <p:sldLayoutId id="2147486280" r:id="rId291"/>
    <p:sldLayoutId id="2147486281" r:id="rId292"/>
    <p:sldLayoutId id="2147486087" r:id="rId293"/>
    <p:sldLayoutId id="2147486282" r:id="rId294"/>
    <p:sldLayoutId id="2147485074" r:id="rId295"/>
    <p:sldLayoutId id="2147485075" r:id="rId296"/>
    <p:sldLayoutId id="2147485076" r:id="rId297"/>
    <p:sldLayoutId id="2147487678" r:id="rId298"/>
    <p:sldLayoutId id="2147485078" r:id="rId299"/>
    <p:sldLayoutId id="2147484851" r:id="rId300"/>
    <p:sldLayoutId id="2147487148" r:id="rId301"/>
    <p:sldLayoutId id="2147487150" r:id="rId302"/>
    <p:sldLayoutId id="2147487752" r:id="rId303"/>
    <p:sldLayoutId id="2147483942" r:id="rId304"/>
    <p:sldLayoutId id="2147487157" r:id="rId305"/>
    <p:sldLayoutId id="2147487151" r:id="rId306"/>
    <p:sldLayoutId id="2147487152" r:id="rId307"/>
    <p:sldLayoutId id="2147487153" r:id="rId308"/>
    <p:sldLayoutId id="2147487154" r:id="rId309"/>
    <p:sldLayoutId id="2147487155" r:id="rId310"/>
    <p:sldLayoutId id="2147487149" r:id="rId311"/>
    <p:sldLayoutId id="2147487679" r:id="rId312"/>
    <p:sldLayoutId id="2147486926" r:id="rId313"/>
    <p:sldLayoutId id="2147487557" r:id="rId314"/>
    <p:sldLayoutId id="2147486971" r:id="rId315"/>
    <p:sldLayoutId id="2147486423" r:id="rId316"/>
    <p:sldLayoutId id="2147486950" r:id="rId317"/>
    <p:sldLayoutId id="2147487694" r:id="rId318"/>
    <p:sldLayoutId id="2147487728" r:id="rId319"/>
    <p:sldLayoutId id="2147487559" r:id="rId320"/>
    <p:sldLayoutId id="2147487698" r:id="rId321"/>
    <p:sldLayoutId id="2147487699" r:id="rId322"/>
    <p:sldLayoutId id="2147487700" r:id="rId323"/>
    <p:sldLayoutId id="2147487701" r:id="rId324"/>
    <p:sldLayoutId id="2147485878" r:id="rId325"/>
    <p:sldLayoutId id="2147484654" r:id="rId326"/>
    <p:sldLayoutId id="2147484655" r:id="rId327"/>
    <p:sldLayoutId id="2147484608" r:id="rId328"/>
    <p:sldLayoutId id="2147485213" r:id="rId329"/>
    <p:sldLayoutId id="2147485214" r:id="rId330"/>
    <p:sldLayoutId id="2147485179" r:id="rId331"/>
    <p:sldLayoutId id="2147486360" r:id="rId332"/>
    <p:sldLayoutId id="2147485556" r:id="rId333"/>
    <p:sldLayoutId id="2147486361" r:id="rId334"/>
    <p:sldLayoutId id="2147487753" r:id="rId335"/>
    <p:sldLayoutId id="2147487787" r:id="rId336"/>
    <p:sldLayoutId id="2147487163" r:id="rId337"/>
    <p:sldLayoutId id="2147487164" r:id="rId338"/>
    <p:sldLayoutId id="2147484852" r:id="rId339"/>
    <p:sldLayoutId id="2147487166" r:id="rId340"/>
    <p:sldLayoutId id="2147487167" r:id="rId341"/>
    <p:sldLayoutId id="2147487785" r:id="rId342"/>
    <p:sldLayoutId id="2147487786" r:id="rId343"/>
    <p:sldLayoutId id="2147487310" r:id="rId344"/>
    <p:sldLayoutId id="2147487170" r:id="rId345"/>
    <p:sldLayoutId id="2147487165" r:id="rId346"/>
    <p:sldLayoutId id="2147487171" r:id="rId347"/>
    <p:sldLayoutId id="2147486071" r:id="rId348"/>
    <p:sldLayoutId id="2147485215" r:id="rId349"/>
    <p:sldLayoutId id="2147485425" r:id="rId350"/>
    <p:sldLayoutId id="2147487710" r:id="rId351"/>
    <p:sldLayoutId id="2147487711" r:id="rId352"/>
    <p:sldLayoutId id="2147484354" r:id="rId353"/>
    <p:sldLayoutId id="2147484572" r:id="rId354"/>
    <p:sldLayoutId id="2147485391" r:id="rId355"/>
    <p:sldLayoutId id="2147485392" r:id="rId356"/>
    <p:sldLayoutId id="2147484376" r:id="rId357"/>
    <p:sldLayoutId id="2147487712" r:id="rId358"/>
    <p:sldLayoutId id="2147487713" r:id="rId359"/>
    <p:sldLayoutId id="2147485880" r:id="rId360"/>
    <p:sldLayoutId id="2147485393" r:id="rId361"/>
    <p:sldLayoutId id="2147485394" r:id="rId362"/>
    <p:sldLayoutId id="2147485395" r:id="rId363"/>
    <p:sldLayoutId id="2147486284" r:id="rId364"/>
    <p:sldLayoutId id="2147484378" r:id="rId365"/>
    <p:sldLayoutId id="2147484379" r:id="rId366"/>
    <p:sldLayoutId id="2147485396" r:id="rId367"/>
    <p:sldLayoutId id="2147487319" r:id="rId368"/>
    <p:sldLayoutId id="2147486222" r:id="rId369"/>
    <p:sldLayoutId id="2147486223" r:id="rId370"/>
    <p:sldLayoutId id="2147486224" r:id="rId371"/>
    <p:sldLayoutId id="2147487320" r:id="rId372"/>
    <p:sldLayoutId id="2147487172" r:id="rId373"/>
    <p:sldLayoutId id="2147487173" r:id="rId374"/>
    <p:sldLayoutId id="2147483706" r:id="rId375"/>
    <p:sldLayoutId id="2147487770" r:id="rId376"/>
    <p:sldLayoutId id="2147487228" r:id="rId377"/>
    <p:sldLayoutId id="2147487229" r:id="rId378"/>
    <p:sldLayoutId id="2147487775" r:id="rId379"/>
    <p:sldLayoutId id="2147487771" r:id="rId380"/>
    <p:sldLayoutId id="2147487772" r:id="rId381"/>
    <p:sldLayoutId id="2147487773" r:id="rId382"/>
    <p:sldLayoutId id="2147487774" r:id="rId383"/>
    <p:sldLayoutId id="2147483937" r:id="rId384"/>
    <p:sldLayoutId id="2147483938" r:id="rId385"/>
    <p:sldLayoutId id="2147486424" r:id="rId386"/>
    <p:sldLayoutId id="2147484335" r:id="rId387"/>
    <p:sldLayoutId id="2147484336" r:id="rId388"/>
    <p:sldLayoutId id="2147484337" r:id="rId389"/>
    <p:sldLayoutId id="2147487680" r:id="rId390"/>
    <p:sldLayoutId id="2147487681" r:id="rId391"/>
    <p:sldLayoutId id="2147484339" r:id="rId392"/>
    <p:sldLayoutId id="2147484340" r:id="rId393"/>
    <p:sldLayoutId id="2147484341" r:id="rId394"/>
    <p:sldLayoutId id="2147484342" r:id="rId395"/>
    <p:sldLayoutId id="2147484343" r:id="rId396"/>
    <p:sldLayoutId id="2147484344" r:id="rId397"/>
    <p:sldLayoutId id="2147485468" r:id="rId398"/>
    <p:sldLayoutId id="2147485865" r:id="rId399"/>
    <p:sldLayoutId id="2147484364" r:id="rId400"/>
    <p:sldLayoutId id="2147487682" r:id="rId401"/>
    <p:sldLayoutId id="2147485868" r:id="rId402"/>
    <p:sldLayoutId id="2147485869" r:id="rId403"/>
    <p:sldLayoutId id="2147485870" r:id="rId404"/>
    <p:sldLayoutId id="2147485385" r:id="rId405"/>
    <p:sldLayoutId id="2147485871" r:id="rId406"/>
    <p:sldLayoutId id="2147485469" r:id="rId407"/>
    <p:sldLayoutId id="2147484570" r:id="rId408"/>
    <p:sldLayoutId id="2147484222" r:id="rId409"/>
    <p:sldLayoutId id="2147487683" r:id="rId410"/>
    <p:sldLayoutId id="2147485079" r:id="rId411"/>
    <p:sldLayoutId id="2147485080" r:id="rId412"/>
    <p:sldLayoutId id="2147485081" r:id="rId413"/>
    <p:sldLayoutId id="2147485082" r:id="rId414"/>
    <p:sldLayoutId id="2147485083" r:id="rId415"/>
    <p:sldLayoutId id="2147484596" r:id="rId416"/>
    <p:sldLayoutId id="2147484835" r:id="rId417"/>
    <p:sldLayoutId id="2147484353" r:id="rId418"/>
    <p:sldLayoutId id="2147486336" r:id="rId419"/>
    <p:sldLayoutId id="2147486957" r:id="rId420"/>
    <p:sldLayoutId id="2147486976" r:id="rId421"/>
    <p:sldLayoutId id="2147486977" r:id="rId422"/>
    <p:sldLayoutId id="2147486975" r:id="rId423"/>
    <p:sldLayoutId id="2147486978" r:id="rId424"/>
    <p:sldLayoutId id="2147487260" r:id="rId425"/>
    <p:sldLayoutId id="2147487261" r:id="rId426"/>
    <p:sldLayoutId id="2147486308" r:id="rId427"/>
    <p:sldLayoutId id="2147486970" r:id="rId428"/>
    <p:sldLayoutId id="2147486420" r:id="rId429"/>
    <p:sldLayoutId id="2147484627" r:id="rId430"/>
    <p:sldLayoutId id="2147485879" r:id="rId431"/>
    <p:sldLayoutId id="2147487684" r:id="rId432"/>
    <p:sldLayoutId id="2147487685" r:id="rId433"/>
    <p:sldLayoutId id="2147485858" r:id="rId434"/>
    <p:sldLayoutId id="2147485859" r:id="rId435"/>
    <p:sldLayoutId id="2147485860" r:id="rId436"/>
    <p:sldLayoutId id="2147485861" r:id="rId437"/>
    <p:sldLayoutId id="2147484634" r:id="rId438"/>
    <p:sldLayoutId id="2147484635" r:id="rId439"/>
    <p:sldLayoutId id="2147484238" r:id="rId440"/>
    <p:sldLayoutId id="2147486915" r:id="rId441"/>
    <p:sldLayoutId id="2147487686" r:id="rId442"/>
    <p:sldLayoutId id="2147486917" r:id="rId443"/>
    <p:sldLayoutId id="2147484203" r:id="rId444"/>
    <p:sldLayoutId id="2147484204" r:id="rId445"/>
    <p:sldLayoutId id="2147484205" r:id="rId446"/>
    <p:sldLayoutId id="2147484206" r:id="rId447"/>
    <p:sldLayoutId id="2147484237" r:id="rId448"/>
    <p:sldLayoutId id="2147484208" r:id="rId449"/>
    <p:sldLayoutId id="2147485064" r:id="rId450"/>
    <p:sldLayoutId id="2147485065" r:id="rId451"/>
    <p:sldLayoutId id="2147487687" r:id="rId452"/>
    <p:sldLayoutId id="2147485066" r:id="rId453"/>
    <p:sldLayoutId id="2147485067" r:id="rId454"/>
    <p:sldLayoutId id="2147485068" r:id="rId455"/>
    <p:sldLayoutId id="2147485069" r:id="rId456"/>
    <p:sldLayoutId id="2147487688" r:id="rId457"/>
    <p:sldLayoutId id="2147485070" r:id="rId458"/>
    <p:sldLayoutId id="2147486030" r:id="rId459"/>
    <p:sldLayoutId id="2147485071" r:id="rId460"/>
    <p:sldLayoutId id="2147487755" r:id="rId461"/>
    <p:sldLayoutId id="2147487689" r:id="rId462"/>
    <p:sldLayoutId id="2147484836" r:id="rId463"/>
    <p:sldLayoutId id="2147484837" r:id="rId464"/>
    <p:sldLayoutId id="2147487756" r:id="rId465"/>
    <p:sldLayoutId id="2147484602" r:id="rId466"/>
    <p:sldLayoutId id="2147484603" r:id="rId467"/>
    <p:sldLayoutId id="2147484604" r:id="rId468"/>
    <p:sldLayoutId id="2147487690" r:id="rId469"/>
    <p:sldLayoutId id="2147485847" r:id="rId470"/>
    <p:sldLayoutId id="2147485848" r:id="rId471"/>
    <p:sldLayoutId id="2147485849" r:id="rId472"/>
    <p:sldLayoutId id="2147487691" r:id="rId473"/>
    <p:sldLayoutId id="2147485851" r:id="rId474"/>
    <p:sldLayoutId id="2147485852" r:id="rId475"/>
    <p:sldLayoutId id="2147485853" r:id="rId476"/>
    <p:sldLayoutId id="2147485854" r:id="rId477"/>
    <p:sldLayoutId id="2147485855" r:id="rId478"/>
    <p:sldLayoutId id="2147485856" r:id="rId479"/>
    <p:sldLayoutId id="2147484384" r:id="rId480"/>
    <p:sldLayoutId id="2147485405" r:id="rId481"/>
    <p:sldLayoutId id="2147487692" r:id="rId482"/>
    <p:sldLayoutId id="2147484385" r:id="rId483"/>
    <p:sldLayoutId id="2147487693" r:id="rId484"/>
    <p:sldLayoutId id="2147484387" r:id="rId485"/>
    <p:sldLayoutId id="2147484388" r:id="rId486"/>
    <p:sldLayoutId id="2147484389" r:id="rId487"/>
    <p:sldLayoutId id="2147484390" r:id="rId488"/>
    <p:sldLayoutId id="2147484391" r:id="rId489"/>
    <p:sldLayoutId id="2147484392" r:id="rId490"/>
    <p:sldLayoutId id="2147487757" r:id="rId491"/>
    <p:sldLayoutId id="2147486205" r:id="rId492"/>
    <p:sldLayoutId id="2147486206" r:id="rId493"/>
    <p:sldLayoutId id="2147486207" r:id="rId494"/>
    <p:sldLayoutId id="2147486208" r:id="rId495"/>
    <p:sldLayoutId id="2147486209" r:id="rId496"/>
    <p:sldLayoutId id="2147484766" r:id="rId497"/>
    <p:sldLayoutId id="2147486426" r:id="rId498"/>
    <p:sldLayoutId id="2147486404" r:id="rId499"/>
    <p:sldLayoutId id="2147484767" r:id="rId500"/>
    <p:sldLayoutId id="2147486405" r:id="rId501"/>
    <p:sldLayoutId id="2147486406" r:id="rId502"/>
    <p:sldLayoutId id="2147486407" r:id="rId503"/>
    <p:sldLayoutId id="2147486409" r:id="rId504"/>
    <p:sldLayoutId id="2147484768" r:id="rId505"/>
    <p:sldLayoutId id="2147486408" r:id="rId506"/>
    <p:sldLayoutId id="2147487788" r:id="rId507"/>
    <p:sldLayoutId id="2147487264" r:id="rId508"/>
    <p:sldLayoutId id="2147486200" r:id="rId509"/>
    <p:sldLayoutId id="2147486201" r:id="rId510"/>
    <p:sldLayoutId id="2147486202" r:id="rId511"/>
    <p:sldLayoutId id="2147486989" r:id="rId512"/>
    <p:sldLayoutId id="2147486203" r:id="rId513"/>
    <p:sldLayoutId id="2147484842" r:id="rId514"/>
    <p:sldLayoutId id="2147486428" r:id="rId515"/>
    <p:sldLayoutId id="2147485072" r:id="rId516"/>
    <p:sldLayoutId id="2147487695" r:id="rId517"/>
    <p:sldLayoutId id="2147484355" r:id="rId518"/>
    <p:sldLayoutId id="2147485444" r:id="rId519"/>
    <p:sldLayoutId id="2147484356" r:id="rId520"/>
    <p:sldLayoutId id="2147487341" r:id="rId521"/>
    <p:sldLayoutId id="2147487696" r:id="rId522"/>
    <p:sldLayoutId id="2147487697" r:id="rId523"/>
    <p:sldLayoutId id="2147484358" r:id="rId524"/>
    <p:sldLayoutId id="2147484359" r:id="rId525"/>
    <p:sldLayoutId id="2147484360" r:id="rId526"/>
    <p:sldLayoutId id="2147484361" r:id="rId527"/>
    <p:sldLayoutId id="2147484393" r:id="rId528"/>
    <p:sldLayoutId id="2147484394" r:id="rId529"/>
    <p:sldLayoutId id="2147484231" r:id="rId530"/>
    <p:sldLayoutId id="2147484268" r:id="rId531"/>
    <p:sldLayoutId id="2147484235" r:id="rId532"/>
    <p:sldLayoutId id="2147487702" r:id="rId533"/>
    <p:sldLayoutId id="2147484245" r:id="rId534"/>
    <p:sldLayoutId id="2147484262" r:id="rId535"/>
    <p:sldLayoutId id="2147486955" r:id="rId536"/>
    <p:sldLayoutId id="2147485238" r:id="rId537"/>
    <p:sldLayoutId id="2147486956" r:id="rId538"/>
    <p:sldLayoutId id="2147484233" r:id="rId539"/>
    <p:sldLayoutId id="2147484821" r:id="rId540"/>
    <p:sldLayoutId id="2147486952" r:id="rId541"/>
    <p:sldLayoutId id="2147485239" r:id="rId542"/>
    <p:sldLayoutId id="2147487703" r:id="rId543"/>
    <p:sldLayoutId id="2147486048" r:id="rId544"/>
    <p:sldLayoutId id="2147486954" r:id="rId545"/>
    <p:sldLayoutId id="2147484400" r:id="rId546"/>
    <p:sldLayoutId id="2147484401" r:id="rId547"/>
    <p:sldLayoutId id="2147484402" r:id="rId548"/>
    <p:sldLayoutId id="2147484822" r:id="rId549"/>
    <p:sldLayoutId id="2147487704" r:id="rId550"/>
    <p:sldLayoutId id="2147484849" r:id="rId551"/>
    <p:sldLayoutId id="2147484850" r:id="rId552"/>
    <p:sldLayoutId id="2147486887" r:id="rId553"/>
    <p:sldLayoutId id="2147486990" r:id="rId554"/>
    <p:sldLayoutId id="2147484585" r:id="rId555"/>
    <p:sldLayoutId id="2147484586" r:id="rId556"/>
    <p:sldLayoutId id="2147484587" r:id="rId557"/>
    <p:sldLayoutId id="2147484588" r:id="rId558"/>
    <p:sldLayoutId id="2147484592" r:id="rId559"/>
    <p:sldLayoutId id="2147484593" r:id="rId560"/>
    <p:sldLayoutId id="2147484594" r:id="rId561"/>
    <p:sldLayoutId id="2147487754" r:id="rId562"/>
    <p:sldLayoutId id="2147485872" r:id="rId563"/>
    <p:sldLayoutId id="2147486927" r:id="rId564"/>
    <p:sldLayoutId id="2147485367" r:id="rId565"/>
    <p:sldLayoutId id="2147485368" r:id="rId566"/>
    <p:sldLayoutId id="2147485369" r:id="rId567"/>
    <p:sldLayoutId id="2147485400" r:id="rId568"/>
    <p:sldLayoutId id="2147485401" r:id="rId569"/>
    <p:sldLayoutId id="2147485402" r:id="rId570"/>
    <p:sldLayoutId id="2147485403" r:id="rId571"/>
    <p:sldLayoutId id="2147486221" r:id="rId572"/>
    <p:sldLayoutId id="2147487259" r:id="rId573"/>
    <p:sldLayoutId id="2147486972" r:id="rId574"/>
    <p:sldLayoutId id="2147486973" r:id="rId575"/>
    <p:sldLayoutId id="2147486974" r:id="rId576"/>
    <p:sldLayoutId id="2147484386" r:id="rId577"/>
    <p:sldLayoutId id="2147484815" r:id="rId578"/>
    <p:sldLayoutId id="2147484816" r:id="rId579"/>
    <p:sldLayoutId id="2147484817" r:id="rId580"/>
    <p:sldLayoutId id="2147487145" r:id="rId581"/>
    <p:sldLayoutId id="2147487776" r:id="rId582"/>
    <p:sldLayoutId id="2147487146" r:id="rId583"/>
    <p:sldLayoutId id="2147487147" r:id="rId584"/>
    <p:sldLayoutId id="2147484330" r:id="rId585"/>
    <p:sldLayoutId id="2147484331" r:id="rId586"/>
    <p:sldLayoutId id="2147484332" r:id="rId587"/>
    <p:sldLayoutId id="2147484485" r:id="rId588"/>
    <p:sldLayoutId id="2147484486" r:id="rId589"/>
    <p:sldLayoutId id="2147484609" r:id="rId590"/>
    <p:sldLayoutId id="2147484477" r:id="rId591"/>
    <p:sldLayoutId id="2147484478" r:id="rId592"/>
    <p:sldLayoutId id="2147484260" r:id="rId593"/>
    <p:sldLayoutId id="2147487705" r:id="rId594"/>
    <p:sldLayoutId id="2147484480" r:id="rId595"/>
    <p:sldLayoutId id="2147484267" r:id="rId596"/>
    <p:sldLayoutId id="2147484481" r:id="rId597"/>
    <p:sldLayoutId id="2147484482" r:id="rId598"/>
    <p:sldLayoutId id="2147484483" r:id="rId599"/>
    <p:sldLayoutId id="2147484484" r:id="rId600"/>
    <p:sldLayoutId id="2147486991" r:id="rId601"/>
    <p:sldLayoutId id="2147486992" r:id="rId602"/>
    <p:sldLayoutId id="2147486252" r:id="rId603"/>
    <p:sldLayoutId id="2147486253" r:id="rId604"/>
    <p:sldLayoutId id="2147486363" r:id="rId605"/>
    <p:sldLayoutId id="2147487006" r:id="rId606"/>
    <p:sldLayoutId id="2147486364" r:id="rId607"/>
    <p:sldLayoutId id="2147486365" r:id="rId608"/>
    <p:sldLayoutId id="2147487007" r:id="rId609"/>
    <p:sldLayoutId id="2147483940" r:id="rId610"/>
    <p:sldLayoutId id="2147486366" r:id="rId611"/>
    <p:sldLayoutId id="2147486367" r:id="rId612"/>
    <p:sldLayoutId id="2147486368" r:id="rId613"/>
    <p:sldLayoutId id="2147486369" r:id="rId614"/>
    <p:sldLayoutId id="2147483944" r:id="rId615"/>
    <p:sldLayoutId id="2147483945" r:id="rId616"/>
    <p:sldLayoutId id="2147483949" r:id="rId617"/>
    <p:sldLayoutId id="2147483953" r:id="rId618"/>
    <p:sldLayoutId id="2147483954" r:id="rId619"/>
    <p:sldLayoutId id="2147483955" r:id="rId620"/>
    <p:sldLayoutId id="2147483956" r:id="rId621"/>
    <p:sldLayoutId id="2147483957" r:id="rId622"/>
    <p:sldLayoutId id="2147483958" r:id="rId623"/>
    <p:sldLayoutId id="2147483959" r:id="rId624"/>
    <p:sldLayoutId id="2147483960" r:id="rId625"/>
    <p:sldLayoutId id="2147483961" r:id="rId626"/>
    <p:sldLayoutId id="2147483962" r:id="rId627"/>
    <p:sldLayoutId id="2147483963" r:id="rId628"/>
    <p:sldLayoutId id="2147483964" r:id="rId629"/>
    <p:sldLayoutId id="2147483965" r:id="rId630"/>
    <p:sldLayoutId id="2147483966" r:id="rId631"/>
    <p:sldLayoutId id="2147483967" r:id="rId632"/>
    <p:sldLayoutId id="2147483968" r:id="rId633"/>
    <p:sldLayoutId id="2147483969" r:id="rId634"/>
    <p:sldLayoutId id="2147483970" r:id="rId635"/>
    <p:sldLayoutId id="2147483971" r:id="rId636"/>
    <p:sldLayoutId id="2147483972" r:id="rId637"/>
    <p:sldLayoutId id="2147483973" r:id="rId638"/>
    <p:sldLayoutId id="2147483976" r:id="rId639"/>
    <p:sldLayoutId id="2147483977" r:id="rId640"/>
    <p:sldLayoutId id="2147483978" r:id="rId641"/>
    <p:sldLayoutId id="2147487766" r:id="rId642"/>
    <p:sldLayoutId id="2147483979" r:id="rId643"/>
    <p:sldLayoutId id="2147483980" r:id="rId644"/>
    <p:sldLayoutId id="2147483981" r:id="rId645"/>
    <p:sldLayoutId id="2147483982" r:id="rId646"/>
    <p:sldLayoutId id="2147483983" r:id="rId647"/>
    <p:sldLayoutId id="2147483984" r:id="rId648"/>
    <p:sldLayoutId id="2147487706" r:id="rId649"/>
    <p:sldLayoutId id="2147487707" r:id="rId650"/>
    <p:sldLayoutId id="2147483987" r:id="rId651"/>
    <p:sldLayoutId id="2147483988" r:id="rId652"/>
    <p:sldLayoutId id="2147483989" r:id="rId653"/>
    <p:sldLayoutId id="2147483990" r:id="rId654"/>
    <p:sldLayoutId id="2147483991" r:id="rId655"/>
    <p:sldLayoutId id="2147487708" r:id="rId656"/>
    <p:sldLayoutId id="2147487709" r:id="rId657"/>
    <p:sldLayoutId id="2147483994" r:id="rId658"/>
    <p:sldLayoutId id="2147483995" r:id="rId659"/>
    <p:sldLayoutId id="2147483996" r:id="rId660"/>
    <p:sldLayoutId id="2147483997" r:id="rId661"/>
    <p:sldLayoutId id="2147483998" r:id="rId662"/>
    <p:sldLayoutId id="2147483999" r:id="rId663"/>
    <p:sldLayoutId id="2147484000" r:id="rId664"/>
    <p:sldLayoutId id="2147484001" r:id="rId665"/>
    <p:sldLayoutId id="2147484652" r:id="rId666"/>
    <p:sldLayoutId id="2147484653" r:id="rId667"/>
    <p:sldLayoutId id="2147487008" r:id="rId668"/>
    <p:sldLayoutId id="2147487009" r:id="rId669"/>
    <p:sldLayoutId id="2147487010" r:id="rId670"/>
    <p:sldLayoutId id="2147487767" r:id="rId671"/>
    <p:sldLayoutId id="2147487011" r:id="rId672"/>
    <p:sldLayoutId id="2147487012" r:id="rId673"/>
    <p:sldLayoutId id="2147487013" r:id="rId674"/>
    <p:sldLayoutId id="2147484999" r:id="rId675"/>
    <p:sldLayoutId id="2147487768" r:id="rId676"/>
    <p:sldLayoutId id="2147485000" r:id="rId677"/>
    <p:sldLayoutId id="2147485001" r:id="rId678"/>
    <p:sldLayoutId id="2147485002" r:id="rId679"/>
    <p:sldLayoutId id="2147485006" r:id="rId680"/>
    <p:sldLayoutId id="2147485007" r:id="rId681"/>
    <p:sldLayoutId id="2147485008" r:id="rId682"/>
    <p:sldLayoutId id="2147485877" r:id="rId683"/>
    <p:sldLayoutId id="2147486419" r:id="rId684"/>
    <p:sldLayoutId id="2147487779" r:id="rId685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" name="Google Shape;13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7563" r:id="rId1"/>
    <p:sldLayoutId id="2147487564" r:id="rId2"/>
    <p:sldLayoutId id="2147487278" r:id="rId3"/>
    <p:sldLayoutId id="2147487279" r:id="rId4"/>
    <p:sldLayoutId id="2147487758" r:id="rId5"/>
    <p:sldLayoutId id="2147487281" r:id="rId6"/>
    <p:sldLayoutId id="2147487282" r:id="rId7"/>
    <p:sldLayoutId id="2147487283" r:id="rId8"/>
    <p:sldLayoutId id="2147487284" r:id="rId9"/>
    <p:sldLayoutId id="2147487285" r:id="rId10"/>
    <p:sldLayoutId id="2147487286" r:id="rId11"/>
    <p:sldLayoutId id="2147487521" r:id="rId12"/>
    <p:sldLayoutId id="2147487288" r:id="rId13"/>
    <p:sldLayoutId id="2147487289" r:id="rId14"/>
    <p:sldLayoutId id="2147487565" r:id="rId15"/>
    <p:sldLayoutId id="2147487566" r:id="rId16"/>
    <p:sldLayoutId id="2147487567" r:id="rId17"/>
    <p:sldLayoutId id="2147487293" r:id="rId18"/>
    <p:sldLayoutId id="2147487568" r:id="rId19"/>
    <p:sldLayoutId id="2147487569" r:id="rId20"/>
    <p:sldLayoutId id="2147487570" r:id="rId21"/>
    <p:sldLayoutId id="2147487571" r:id="rId22"/>
    <p:sldLayoutId id="2147487572" r:id="rId23"/>
    <p:sldLayoutId id="2147487573" r:id="rId24"/>
    <p:sldLayoutId id="2147487574" r:id="rId25"/>
    <p:sldLayoutId id="2147483674" r:id="rId26"/>
    <p:sldLayoutId id="2147483675" r:id="rId27"/>
    <p:sldLayoutId id="2147486118" r:id="rId28"/>
    <p:sldLayoutId id="2147487575" r:id="rId29"/>
    <p:sldLayoutId id="2147487533" r:id="rId30"/>
    <p:sldLayoutId id="2147487534" r:id="rId31"/>
    <p:sldLayoutId id="2147487535" r:id="rId32"/>
    <p:sldLayoutId id="2147487644" r:id="rId33"/>
    <p:sldLayoutId id="2147487576" r:id="rId34"/>
    <p:sldLayoutId id="2147487732" r:id="rId35"/>
    <p:sldLayoutId id="2147487539" r:id="rId36"/>
    <p:sldLayoutId id="2147487540" r:id="rId37"/>
    <p:sldLayoutId id="2147487541" r:id="rId38"/>
    <p:sldLayoutId id="2147487734" r:id="rId39"/>
    <p:sldLayoutId id="2147487543" r:id="rId40"/>
    <p:sldLayoutId id="2147487544" r:id="rId41"/>
    <p:sldLayoutId id="2147487735" r:id="rId42"/>
    <p:sldLayoutId id="2147487736" r:id="rId43"/>
    <p:sldLayoutId id="2147487577" r:id="rId44"/>
    <p:sldLayoutId id="2147487578" r:id="rId45"/>
    <p:sldLayoutId id="2147487579" r:id="rId46"/>
    <p:sldLayoutId id="2147487321" r:id="rId47"/>
    <p:sldLayoutId id="2147487322" r:id="rId48"/>
    <p:sldLayoutId id="2147487323" r:id="rId49"/>
    <p:sldLayoutId id="2147487324" r:id="rId50"/>
    <p:sldLayoutId id="2147487325" r:id="rId51"/>
    <p:sldLayoutId id="2147487580" r:id="rId52"/>
    <p:sldLayoutId id="2147487556" r:id="rId53"/>
    <p:sldLayoutId id="2147483702" r:id="rId54"/>
    <p:sldLayoutId id="2147483703" r:id="rId55"/>
    <p:sldLayoutId id="2147483704" r:id="rId56"/>
    <p:sldLayoutId id="2147483705" r:id="rId57"/>
    <p:sldLayoutId id="2147486347" r:id="rId58"/>
    <p:sldLayoutId id="2147486348" r:id="rId59"/>
    <p:sldLayoutId id="2147486349" r:id="rId60"/>
    <p:sldLayoutId id="2147486350" r:id="rId61"/>
    <p:sldLayoutId id="2147486351" r:id="rId62"/>
    <p:sldLayoutId id="2147486352" r:id="rId63"/>
    <p:sldLayoutId id="2147486353" r:id="rId64"/>
    <p:sldLayoutId id="2147486354" r:id="rId65"/>
    <p:sldLayoutId id="2147483714" r:id="rId66"/>
    <p:sldLayoutId id="2147483715" r:id="rId67"/>
    <p:sldLayoutId id="2147487643" r:id="rId68"/>
    <p:sldLayoutId id="2147487731" r:id="rId69"/>
    <p:sldLayoutId id="2147487639" r:id="rId70"/>
    <p:sldLayoutId id="2147487730" r:id="rId71"/>
    <p:sldLayoutId id="2147483720" r:id="rId72"/>
    <p:sldLayoutId id="2147487641" r:id="rId73"/>
    <p:sldLayoutId id="2147483722" r:id="rId74"/>
    <p:sldLayoutId id="2147483723" r:id="rId75"/>
    <p:sldLayoutId id="2147483724" r:id="rId76"/>
    <p:sldLayoutId id="2147483725" r:id="rId77"/>
    <p:sldLayoutId id="2147487344" r:id="rId78"/>
    <p:sldLayoutId id="2147486355" r:id="rId79"/>
    <p:sldLayoutId id="2147483728" r:id="rId80"/>
    <p:sldLayoutId id="2147483729" r:id="rId81"/>
    <p:sldLayoutId id="2147483730" r:id="rId82"/>
    <p:sldLayoutId id="2147483731" r:id="rId83"/>
    <p:sldLayoutId id="2147483732" r:id="rId84"/>
    <p:sldLayoutId id="2147483733" r:id="rId85"/>
    <p:sldLayoutId id="2147487351" r:id="rId86"/>
    <p:sldLayoutId id="2147487352" r:id="rId87"/>
    <p:sldLayoutId id="2147487737" r:id="rId88"/>
    <p:sldLayoutId id="2147487738" r:id="rId89"/>
    <p:sldLayoutId id="2147483738" r:id="rId90"/>
    <p:sldLayoutId id="2147487356" r:id="rId91"/>
    <p:sldLayoutId id="2147483740" r:id="rId92"/>
    <p:sldLayoutId id="2147487640" r:id="rId93"/>
    <p:sldLayoutId id="2147483742" r:id="rId94"/>
    <p:sldLayoutId id="2147487360" r:id="rId95"/>
    <p:sldLayoutId id="2147483744" r:id="rId96"/>
    <p:sldLayoutId id="2147483745" r:id="rId97"/>
    <p:sldLayoutId id="2147483746" r:id="rId98"/>
    <p:sldLayoutId id="2147483747" r:id="rId99"/>
    <p:sldLayoutId id="2147483748" r:id="rId100"/>
    <p:sldLayoutId id="2147483749" r:id="rId101"/>
    <p:sldLayoutId id="2147487367" r:id="rId102"/>
    <p:sldLayoutId id="2147487368" r:id="rId103"/>
    <p:sldLayoutId id="2147487369" r:id="rId104"/>
    <p:sldLayoutId id="2147487370" r:id="rId105"/>
    <p:sldLayoutId id="2147487371" r:id="rId106"/>
    <p:sldLayoutId id="2147487739" r:id="rId107"/>
    <p:sldLayoutId id="2147487740" r:id="rId108"/>
    <p:sldLayoutId id="2147487741" r:id="rId109"/>
    <p:sldLayoutId id="2147487742" r:id="rId110"/>
    <p:sldLayoutId id="2147487743" r:id="rId111"/>
    <p:sldLayoutId id="2147487377" r:id="rId112"/>
    <p:sldLayoutId id="2147483761" r:id="rId113"/>
    <p:sldLayoutId id="2147483762" r:id="rId114"/>
    <p:sldLayoutId id="2147483763" r:id="rId115"/>
    <p:sldLayoutId id="2147487744" r:id="rId116"/>
    <p:sldLayoutId id="2147487745" r:id="rId117"/>
    <p:sldLayoutId id="2147487746" r:id="rId118"/>
    <p:sldLayoutId id="2147483767" r:id="rId119"/>
    <p:sldLayoutId id="2147483768" r:id="rId120"/>
    <p:sldLayoutId id="2147483769" r:id="rId121"/>
    <p:sldLayoutId id="2147483770" r:id="rId122"/>
    <p:sldLayoutId id="2147483771" r:id="rId123"/>
    <p:sldLayoutId id="2147483772" r:id="rId124"/>
    <p:sldLayoutId id="2147483773" r:id="rId125"/>
    <p:sldLayoutId id="2147483774" r:id="rId126"/>
    <p:sldLayoutId id="2147487392" r:id="rId127"/>
    <p:sldLayoutId id="2147487393" r:id="rId128"/>
    <p:sldLayoutId id="2147487394" r:id="rId129"/>
    <p:sldLayoutId id="2147487395" r:id="rId130"/>
    <p:sldLayoutId id="2147487396" r:id="rId131"/>
    <p:sldLayoutId id="2147487397" r:id="rId132"/>
    <p:sldLayoutId id="2147487398" r:id="rId133"/>
    <p:sldLayoutId id="2147487399" r:id="rId134"/>
    <p:sldLayoutId id="2147487400" r:id="rId135"/>
    <p:sldLayoutId id="2147487401" r:id="rId136"/>
    <p:sldLayoutId id="2147487402" r:id="rId137"/>
    <p:sldLayoutId id="2147487403" r:id="rId138"/>
    <p:sldLayoutId id="2147483787" r:id="rId139"/>
    <p:sldLayoutId id="2147483788" r:id="rId140"/>
    <p:sldLayoutId id="2147483789" r:id="rId141"/>
    <p:sldLayoutId id="2147487407" r:id="rId142"/>
    <p:sldLayoutId id="2147483791" r:id="rId143"/>
    <p:sldLayoutId id="2147483792" r:id="rId144"/>
    <p:sldLayoutId id="2147483793" r:id="rId145"/>
    <p:sldLayoutId id="2147483794" r:id="rId146"/>
    <p:sldLayoutId id="2147483795" r:id="rId147"/>
    <p:sldLayoutId id="2147483796" r:id="rId148"/>
    <p:sldLayoutId id="2147483797" r:id="rId149"/>
    <p:sldLayoutId id="2147483798" r:id="rId150"/>
    <p:sldLayoutId id="2147487416" r:id="rId151"/>
    <p:sldLayoutId id="2147483800" r:id="rId152"/>
    <p:sldLayoutId id="2147483801" r:id="rId153"/>
    <p:sldLayoutId id="2147483802" r:id="rId154"/>
    <p:sldLayoutId id="2147483803" r:id="rId155"/>
    <p:sldLayoutId id="2147483804" r:id="rId156"/>
    <p:sldLayoutId id="2147483805" r:id="rId157"/>
    <p:sldLayoutId id="2147487423" r:id="rId158"/>
    <p:sldLayoutId id="2147483807" r:id="rId159"/>
    <p:sldLayoutId id="2147483808" r:id="rId160"/>
    <p:sldLayoutId id="2147487426" r:id="rId161"/>
    <p:sldLayoutId id="2147487427" r:id="rId162"/>
    <p:sldLayoutId id="2147487428" r:id="rId163"/>
    <p:sldLayoutId id="2147487429" r:id="rId164"/>
    <p:sldLayoutId id="2147487430" r:id="rId165"/>
    <p:sldLayoutId id="2147487431" r:id="rId166"/>
    <p:sldLayoutId id="2147483815" r:id="rId167"/>
    <p:sldLayoutId id="2147483816" r:id="rId168"/>
    <p:sldLayoutId id="2147483817" r:id="rId169"/>
    <p:sldLayoutId id="2147487435" r:id="rId170"/>
    <p:sldLayoutId id="2147487436" r:id="rId171"/>
    <p:sldLayoutId id="2147487437" r:id="rId172"/>
    <p:sldLayoutId id="2147487438" r:id="rId173"/>
    <p:sldLayoutId id="2147487439" r:id="rId174"/>
    <p:sldLayoutId id="2147483823" r:id="rId175"/>
    <p:sldLayoutId id="2147487441" r:id="rId176"/>
    <p:sldLayoutId id="2147487442" r:id="rId177"/>
    <p:sldLayoutId id="2147487443" r:id="rId178"/>
    <p:sldLayoutId id="2147487444" r:id="rId179"/>
    <p:sldLayoutId id="2147487445" r:id="rId180"/>
    <p:sldLayoutId id="2147487446" r:id="rId181"/>
    <p:sldLayoutId id="2147487447" r:id="rId182"/>
    <p:sldLayoutId id="2147487448" r:id="rId183"/>
    <p:sldLayoutId id="2147487449" r:id="rId184"/>
    <p:sldLayoutId id="2147487450" r:id="rId185"/>
    <p:sldLayoutId id="2147487451" r:id="rId186"/>
    <p:sldLayoutId id="2147487452" r:id="rId187"/>
    <p:sldLayoutId id="2147487453" r:id="rId188"/>
    <p:sldLayoutId id="2147487454" r:id="rId189"/>
    <p:sldLayoutId id="2147487455" r:id="rId190"/>
    <p:sldLayoutId id="2147487456" r:id="rId191"/>
    <p:sldLayoutId id="2147487457" r:id="rId192"/>
    <p:sldLayoutId id="2147487458" r:id="rId193"/>
    <p:sldLayoutId id="2147487459" r:id="rId194"/>
    <p:sldLayoutId id="2147483843" r:id="rId195"/>
    <p:sldLayoutId id="2147487461" r:id="rId196"/>
    <p:sldLayoutId id="2147483845" r:id="rId197"/>
    <p:sldLayoutId id="2147483846" r:id="rId198"/>
    <p:sldLayoutId id="2147487581" r:id="rId199"/>
    <p:sldLayoutId id="2147487582" r:id="rId200"/>
    <p:sldLayoutId id="2147487583" r:id="rId201"/>
    <p:sldLayoutId id="2147487584" r:id="rId202"/>
    <p:sldLayoutId id="2147487585" r:id="rId203"/>
    <p:sldLayoutId id="2147487586" r:id="rId204"/>
    <p:sldLayoutId id="2147487587" r:id="rId205"/>
    <p:sldLayoutId id="2147487588" r:id="rId206"/>
    <p:sldLayoutId id="2147487589" r:id="rId207"/>
    <p:sldLayoutId id="2147487590" r:id="rId208"/>
    <p:sldLayoutId id="2147487591" r:id="rId209"/>
    <p:sldLayoutId id="2147487592" r:id="rId210"/>
    <p:sldLayoutId id="2147487593" r:id="rId211"/>
    <p:sldLayoutId id="2147487642" r:id="rId212"/>
    <p:sldLayoutId id="2147487594" r:id="rId213"/>
    <p:sldLayoutId id="2147487595" r:id="rId214"/>
    <p:sldLayoutId id="2147487596" r:id="rId215"/>
    <p:sldLayoutId id="2147487597" r:id="rId216"/>
    <p:sldLayoutId id="2147487598" r:id="rId217"/>
    <p:sldLayoutId id="2147487599" r:id="rId218"/>
    <p:sldLayoutId id="2147487600" r:id="rId219"/>
    <p:sldLayoutId id="2147486109" r:id="rId220"/>
    <p:sldLayoutId id="2147487601" r:id="rId221"/>
    <p:sldLayoutId id="2147487602" r:id="rId222"/>
    <p:sldLayoutId id="2147487603" r:id="rId223"/>
    <p:sldLayoutId id="2147487604" r:id="rId224"/>
    <p:sldLayoutId id="2147487605" r:id="rId225"/>
    <p:sldLayoutId id="2147487606" r:id="rId226"/>
    <p:sldLayoutId id="2147487607" r:id="rId227"/>
    <p:sldLayoutId id="2147487608" r:id="rId228"/>
    <p:sldLayoutId id="2147486136" r:id="rId229"/>
    <p:sldLayoutId id="2147486137" r:id="rId230"/>
    <p:sldLayoutId id="2147487609" r:id="rId231"/>
    <p:sldLayoutId id="2147487610" r:id="rId232"/>
    <p:sldLayoutId id="2147487611" r:id="rId233"/>
    <p:sldLayoutId id="2147487612" r:id="rId234"/>
    <p:sldLayoutId id="2147487613" r:id="rId235"/>
    <p:sldLayoutId id="2147487614" r:id="rId236"/>
    <p:sldLayoutId id="2147487645" r:id="rId237"/>
    <p:sldLayoutId id="2147487615" r:id="rId238"/>
    <p:sldLayoutId id="2147487616" r:id="rId239"/>
    <p:sldLayoutId id="2147487617" r:id="rId240"/>
    <p:sldLayoutId id="2147487618" r:id="rId241"/>
    <p:sldLayoutId id="2147487619" r:id="rId242"/>
    <p:sldLayoutId id="2147487620" r:id="rId243"/>
    <p:sldLayoutId id="2147487621" r:id="rId244"/>
    <p:sldLayoutId id="2147487622" r:id="rId245"/>
    <p:sldLayoutId id="2147487623" r:id="rId246"/>
    <p:sldLayoutId id="2147487624" r:id="rId247"/>
    <p:sldLayoutId id="2147487625" r:id="rId248"/>
    <p:sldLayoutId id="2147487626" r:id="rId249"/>
    <p:sldLayoutId id="2147487627" r:id="rId250"/>
    <p:sldLayoutId id="2147487628" r:id="rId251"/>
    <p:sldLayoutId id="2147487629" r:id="rId252"/>
    <p:sldLayoutId id="2147487630" r:id="rId253"/>
    <p:sldLayoutId id="2147487631" r:id="rId254"/>
    <p:sldLayoutId id="2147487632" r:id="rId255"/>
    <p:sldLayoutId id="2147487633" r:id="rId256"/>
    <p:sldLayoutId id="2147487634" r:id="rId257"/>
    <p:sldLayoutId id="2147487635" r:id="rId258"/>
    <p:sldLayoutId id="2147487729" r:id="rId259"/>
    <p:sldLayoutId id="2147483908" r:id="rId260"/>
    <p:sldLayoutId id="2147483909" r:id="rId261"/>
    <p:sldLayoutId id="2147483910" r:id="rId262"/>
    <p:sldLayoutId id="2147483911" r:id="rId263"/>
    <p:sldLayoutId id="2147483912" r:id="rId264"/>
    <p:sldLayoutId id="2147483913" r:id="rId265"/>
    <p:sldLayoutId id="2147483914" r:id="rId266"/>
    <p:sldLayoutId id="2147483915" r:id="rId267"/>
    <p:sldLayoutId id="2147483916" r:id="rId268"/>
    <p:sldLayoutId id="2147483917" r:id="rId269"/>
    <p:sldLayoutId id="2147483918" r:id="rId270"/>
    <p:sldLayoutId id="2147483919" r:id="rId271"/>
    <p:sldLayoutId id="2147483920" r:id="rId27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609630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60963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325" indent="-190510" algn="l" defTabSz="60963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9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69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38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91.xml"/><Relationship Id="rId5" Type="http://schemas.openxmlformats.org/officeDocument/2006/relationships/image" Target="../media/image101.svg"/><Relationship Id="rId4" Type="http://schemas.openxmlformats.org/officeDocument/2006/relationships/image" Target="../media/image10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svg"/><Relationship Id="rId3" Type="http://schemas.openxmlformats.org/officeDocument/2006/relationships/image" Target="../media/image103.png"/><Relationship Id="rId7" Type="http://schemas.openxmlformats.org/officeDocument/2006/relationships/image" Target="../media/image107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964.xml"/><Relationship Id="rId6" Type="http://schemas.openxmlformats.org/officeDocument/2006/relationships/image" Target="../media/image106.svg"/><Relationship Id="rId5" Type="http://schemas.openxmlformats.org/officeDocument/2006/relationships/image" Target="../media/image105.png"/><Relationship Id="rId4" Type="http://schemas.openxmlformats.org/officeDocument/2006/relationships/image" Target="../media/image104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svg"/><Relationship Id="rId3" Type="http://schemas.openxmlformats.org/officeDocument/2006/relationships/image" Target="../media/image103.png"/><Relationship Id="rId7" Type="http://schemas.openxmlformats.org/officeDocument/2006/relationships/image" Target="../media/image107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964.xml"/><Relationship Id="rId6" Type="http://schemas.openxmlformats.org/officeDocument/2006/relationships/image" Target="../media/image106.svg"/><Relationship Id="rId5" Type="http://schemas.openxmlformats.org/officeDocument/2006/relationships/image" Target="../media/image105.png"/><Relationship Id="rId4" Type="http://schemas.openxmlformats.org/officeDocument/2006/relationships/image" Target="../media/image104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jpeg"/><Relationship Id="rId3" Type="http://schemas.openxmlformats.org/officeDocument/2006/relationships/image" Target="../media/image109.jpeg"/><Relationship Id="rId7" Type="http://schemas.openxmlformats.org/officeDocument/2006/relationships/image" Target="../media/image11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80.xml"/><Relationship Id="rId6" Type="http://schemas.openxmlformats.org/officeDocument/2006/relationships/image" Target="../media/image112.png"/><Relationship Id="rId5" Type="http://schemas.openxmlformats.org/officeDocument/2006/relationships/image" Target="../media/image111.png"/><Relationship Id="rId10" Type="http://schemas.openxmlformats.org/officeDocument/2006/relationships/image" Target="../media/image116.jpeg"/><Relationship Id="rId4" Type="http://schemas.openxmlformats.org/officeDocument/2006/relationships/image" Target="../media/image110.jpeg"/><Relationship Id="rId9" Type="http://schemas.openxmlformats.org/officeDocument/2006/relationships/image" Target="../media/image115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9FCEC9-0EC9-374D-959D-7AB59467C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09665" y="240662"/>
            <a:ext cx="9898766" cy="2014679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sz="4000">
                <a:latin typeface="Calibri"/>
                <a:ea typeface="+mj-lt"/>
                <a:cs typeface="Arial"/>
              </a:rPr>
              <a:t>Momma’s Voices: </a:t>
            </a:r>
            <a:br>
              <a:rPr lang="en-US" sz="4000">
                <a:latin typeface="Calibri"/>
                <a:ea typeface="+mj-lt"/>
                <a:cs typeface="Arial"/>
              </a:rPr>
            </a:br>
            <a:r>
              <a:rPr lang="en-US" sz="4000">
                <a:latin typeface="Calibri"/>
                <a:ea typeface="+mj-lt"/>
                <a:cs typeface="Arial"/>
              </a:rPr>
              <a:t>Taking Steps to Engage Patient Partners in Q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A6EC5C-75A9-6841-A232-CD6FE289C3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09665" y="2511969"/>
            <a:ext cx="9365380" cy="986569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>
                <a:ea typeface="Calibri"/>
                <a:cs typeface="Calibri"/>
              </a:rPr>
              <a:t>Bekah Bischoff </a:t>
            </a:r>
            <a:endParaRPr lang="en-US" sz="2000">
              <a:ea typeface="Calibri"/>
              <a:cs typeface="Calibri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>
                <a:ea typeface="Calibri"/>
                <a:cs typeface="Calibri"/>
              </a:rPr>
              <a:t>Program Manager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>
                <a:ea typeface="Calibri"/>
                <a:cs typeface="Calibri"/>
              </a:rPr>
              <a:t>Momma’s Voices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2000">
              <a:ea typeface="Calibri"/>
              <a:cs typeface="Calibri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>
                <a:ea typeface="Calibri"/>
                <a:cs typeface="Calibri"/>
              </a:rPr>
              <a:t>Tamela Milan-Alexander, MPPA </a:t>
            </a:r>
            <a:endParaRPr lang="en-US" sz="2000">
              <a:ea typeface="Calibri"/>
              <a:cs typeface="Calibri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>
                <a:ea typeface="Calibri"/>
                <a:cs typeface="Calibri"/>
              </a:rPr>
              <a:t>Community Engagement Director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err="1">
                <a:ea typeface="Calibri"/>
                <a:cs typeface="Calibri"/>
              </a:rPr>
              <a:t>EverThrive</a:t>
            </a:r>
            <a:r>
              <a:rPr lang="en-US" sz="2000">
                <a:ea typeface="Calibri"/>
                <a:cs typeface="Calibri"/>
              </a:rPr>
              <a:t> IL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3600" b="1">
              <a:ea typeface="Calibri"/>
              <a:cs typeface="Calibri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/>
          </a:p>
          <a:p>
            <a:pPr marL="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42694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1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48" name="Google Shape;11348;p2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  <a:ln>
            <a:noFill/>
          </a:ln>
        </p:spPr>
      </p:pic>
      <p:sp>
        <p:nvSpPr>
          <p:cNvPr id="11349" name="Google Shape;11349;p28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F3F6FB">
                  <a:alpha val="67843"/>
                </a:srgbClr>
              </a:gs>
              <a:gs pos="10000">
                <a:srgbClr val="F3F6FB">
                  <a:alpha val="67843"/>
                </a:srgbClr>
              </a:gs>
              <a:gs pos="85000">
                <a:srgbClr val="F3F6FB">
                  <a:alpha val="96862"/>
                </a:srgbClr>
              </a:gs>
              <a:gs pos="100000">
                <a:srgbClr val="F3F6FB">
                  <a:alpha val="96862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50" name="Google Shape;11350;p28"/>
          <p:cNvSpPr txBox="1">
            <a:spLocks noGrp="1"/>
          </p:cNvSpPr>
          <p:nvPr>
            <p:ph type="title"/>
          </p:nvPr>
        </p:nvSpPr>
        <p:spPr>
          <a:xfrm>
            <a:off x="242877" y="-181214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>
              <a:buSzPts val="3600"/>
            </a:pPr>
            <a:r>
              <a:rPr lang="en-US"/>
              <a:t>Our ILPQC goal for Patient Engagement in 2024</a:t>
            </a:r>
            <a:endParaRPr/>
          </a:p>
        </p:txBody>
      </p:sp>
      <p:sp>
        <p:nvSpPr>
          <p:cNvPr id="11351" name="Google Shape;11351;p2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sp>
        <p:nvSpPr>
          <p:cNvPr id="11352" name="Google Shape;11352;p2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0</a:t>
            </a:fld>
            <a:endParaRPr/>
          </a:p>
        </p:txBody>
      </p:sp>
      <p:grpSp>
        <p:nvGrpSpPr>
          <p:cNvPr id="11353" name="Google Shape;11353;p28"/>
          <p:cNvGrpSpPr/>
          <p:nvPr/>
        </p:nvGrpSpPr>
        <p:grpSpPr>
          <a:xfrm>
            <a:off x="241540" y="958230"/>
            <a:ext cx="11716108" cy="5396014"/>
            <a:chOff x="0" y="2435"/>
            <a:chExt cx="11716108" cy="5396014"/>
          </a:xfrm>
        </p:grpSpPr>
        <p:sp>
          <p:nvSpPr>
            <p:cNvPr id="11354" name="Google Shape;11354;p28"/>
            <p:cNvSpPr/>
            <p:nvPr/>
          </p:nvSpPr>
          <p:spPr>
            <a:xfrm>
              <a:off x="0" y="3259720"/>
              <a:ext cx="11716108" cy="2138729"/>
            </a:xfrm>
            <a:prstGeom prst="rect">
              <a:avLst/>
            </a:prstGeom>
            <a:gradFill>
              <a:gsLst>
                <a:gs pos="0">
                  <a:srgbClr val="F7789B"/>
                </a:gs>
                <a:gs pos="50000">
                  <a:srgbClr val="FC5C8B"/>
                </a:gs>
                <a:gs pos="100000">
                  <a:srgbClr val="E34976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5" name="Google Shape;11355;p28"/>
            <p:cNvSpPr txBox="1"/>
            <p:nvPr/>
          </p:nvSpPr>
          <p:spPr>
            <a:xfrm>
              <a:off x="0" y="3259720"/>
              <a:ext cx="11716108" cy="115491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06225" tIns="206225" rIns="206225" bIns="20622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2900"/>
                <a:buFont typeface="Calibri"/>
                <a:buNone/>
              </a:pPr>
              <a:r>
                <a:rPr lang="en-US" sz="2900" b="0" i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Every team to engage a Patient Partner to work with their QI team</a:t>
              </a:r>
              <a:endParaRPr sz="29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56" name="Google Shape;11356;p28"/>
            <p:cNvSpPr/>
            <p:nvPr/>
          </p:nvSpPr>
          <p:spPr>
            <a:xfrm>
              <a:off x="0" y="4371859"/>
              <a:ext cx="11716108" cy="983815"/>
            </a:xfrm>
            <a:prstGeom prst="rect">
              <a:avLst/>
            </a:prstGeom>
            <a:solidFill>
              <a:srgbClr val="FBD2DB">
                <a:alpha val="89803"/>
              </a:srgbClr>
            </a:solidFill>
            <a:ln w="9525" cap="flat" cmpd="sng">
              <a:solidFill>
                <a:srgbClr val="FBD2DB">
                  <a:alpha val="8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7" name="Google Shape;11357;p28"/>
            <p:cNvSpPr txBox="1"/>
            <p:nvPr/>
          </p:nvSpPr>
          <p:spPr>
            <a:xfrm>
              <a:off x="0" y="4371859"/>
              <a:ext cx="11716108" cy="98381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13775" tIns="20300" rIns="113775" bIns="20300" anchor="ctr" anchorCtr="0">
              <a:noAutofit/>
            </a:bodyPr>
            <a:lstStyle/>
            <a:p>
              <a:pPr marL="285750" indent="-285750" algn="ctr">
                <a:lnSpc>
                  <a:spcPct val="90000"/>
                </a:lnSpc>
                <a:buClr>
                  <a:schemeClr val="dk1"/>
                </a:buClr>
                <a:buSzPts val="1600"/>
                <a:buFont typeface="Arial"/>
                <a:buChar char="•"/>
              </a:pPr>
              <a:r>
                <a:rPr lang="en-US" sz="20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Identify</a:t>
              </a:r>
              <a:r>
                <a:rPr lang="en-US" sz="2000" b="0" i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patients through Respectful Care Breakfasts, provider</a:t>
              </a:r>
              <a:r>
                <a:rPr lang="en-US" sz="20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recommendations, NICU parents</a:t>
              </a:r>
            </a:p>
            <a:p>
              <a:pPr marL="285750" indent="-285750" algn="ctr">
                <a:lnSpc>
                  <a:spcPct val="90000"/>
                </a:lnSpc>
                <a:buClr>
                  <a:schemeClr val="dk1"/>
                </a:buClr>
                <a:buSzPts val="1600"/>
                <a:buFont typeface="Arial"/>
                <a:buChar char="•"/>
              </a:pPr>
              <a:r>
                <a:rPr lang="en-US" sz="2000">
                  <a:solidFill>
                    <a:schemeClr val="dk1"/>
                  </a:solidFill>
                  <a:latin typeface="Calibri"/>
                  <a:ea typeface="Calibri"/>
                  <a:cs typeface="Calibri"/>
                </a:rPr>
                <a:t>ILP</a:t>
              </a:r>
              <a:r>
                <a:rPr lang="en-US" sz="2000">
                  <a:solidFill>
                    <a:schemeClr val="dk1"/>
                  </a:solidFill>
                  <a:latin typeface="Calibri"/>
                  <a:cs typeface="Calibri"/>
                </a:rPr>
                <a:t>QC is offering a FREE Momma's Voices Patient &amp; Family Partner Training to each of the first 20 patient partners identified!</a:t>
              </a:r>
            </a:p>
          </p:txBody>
        </p:sp>
        <p:sp>
          <p:nvSpPr>
            <p:cNvPr id="11358" name="Google Shape;11358;p28"/>
            <p:cNvSpPr/>
            <p:nvPr/>
          </p:nvSpPr>
          <p:spPr>
            <a:xfrm rot="10800000">
              <a:off x="0" y="2435"/>
              <a:ext cx="11716108" cy="3289365"/>
            </a:xfrm>
            <a:prstGeom prst="upArrowCallout">
              <a:avLst>
                <a:gd name="adj1" fmla="val 25000"/>
                <a:gd name="adj2" fmla="val 25000"/>
                <a:gd name="adj3" fmla="val 25000"/>
                <a:gd name="adj4" fmla="val 64977"/>
              </a:avLst>
            </a:prstGeom>
            <a:gradFill>
              <a:gsLst>
                <a:gs pos="0">
                  <a:srgbClr val="F79178"/>
                </a:gs>
                <a:gs pos="50000">
                  <a:srgbClr val="FC7D5C"/>
                </a:gs>
                <a:gs pos="100000">
                  <a:srgbClr val="E36A49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9" name="Google Shape;11359;p28"/>
            <p:cNvSpPr txBox="1"/>
            <p:nvPr/>
          </p:nvSpPr>
          <p:spPr>
            <a:xfrm>
              <a:off x="0" y="2435"/>
              <a:ext cx="11716108" cy="115456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06225" tIns="206225" rIns="206225" bIns="20622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2900"/>
                <a:buFont typeface="Calibri"/>
                <a:buNone/>
              </a:pPr>
              <a:r>
                <a:rPr lang="en-US" sz="2900" b="0" i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Every team to hold a Respectful Care Breakfast </a:t>
              </a:r>
              <a:endParaRPr sz="29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60" name="Google Shape;11360;p28"/>
            <p:cNvSpPr/>
            <p:nvPr/>
          </p:nvSpPr>
          <p:spPr>
            <a:xfrm>
              <a:off x="5720" y="1157002"/>
              <a:ext cx="3901555" cy="983520"/>
            </a:xfrm>
            <a:prstGeom prst="rect">
              <a:avLst/>
            </a:prstGeom>
            <a:solidFill>
              <a:srgbClr val="FBD8D2">
                <a:alpha val="89803"/>
              </a:srgbClr>
            </a:solidFill>
            <a:ln w="9525" cap="flat" cmpd="sng">
              <a:solidFill>
                <a:srgbClr val="FBD8D2">
                  <a:alpha val="8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1" name="Google Shape;11361;p28"/>
            <p:cNvSpPr txBox="1"/>
            <p:nvPr/>
          </p:nvSpPr>
          <p:spPr>
            <a:xfrm>
              <a:off x="5720" y="1157002"/>
              <a:ext cx="3901555" cy="98352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13775" tIns="20300" rIns="113775" bIns="20300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chemeClr val="dk1"/>
                </a:buClr>
                <a:buSzPts val="1600"/>
                <a:buFont typeface="Calibri"/>
              </a:pPr>
              <a:r>
                <a:rPr lang="en-US" sz="2000">
                  <a:solidFill>
                    <a:schemeClr val="dk1"/>
                  </a:solidFill>
                  <a:latin typeface="Calibri"/>
                  <a:ea typeface="Calibri"/>
                  <a:cs typeface="Calibri"/>
                </a:rPr>
                <a:t>Invite patients, community partners, and clinical staff.</a:t>
              </a:r>
            </a:p>
          </p:txBody>
        </p:sp>
        <p:sp>
          <p:nvSpPr>
            <p:cNvPr id="11362" name="Google Shape;11362;p28"/>
            <p:cNvSpPr/>
            <p:nvPr/>
          </p:nvSpPr>
          <p:spPr>
            <a:xfrm>
              <a:off x="3907276" y="1157002"/>
              <a:ext cx="3901555" cy="983520"/>
            </a:xfrm>
            <a:prstGeom prst="rect">
              <a:avLst/>
            </a:prstGeom>
            <a:solidFill>
              <a:srgbClr val="FEF0C8">
                <a:alpha val="89803"/>
              </a:srgbClr>
            </a:solidFill>
            <a:ln w="9525" cap="flat" cmpd="sng">
              <a:solidFill>
                <a:srgbClr val="FEF0C8">
                  <a:alpha val="8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3" name="Google Shape;11363;p28"/>
            <p:cNvSpPr txBox="1"/>
            <p:nvPr/>
          </p:nvSpPr>
          <p:spPr>
            <a:xfrm>
              <a:off x="3907276" y="1157002"/>
              <a:ext cx="3901555" cy="98352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13775" tIns="20300" rIns="113775" bIns="20300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chemeClr val="dk1"/>
                </a:buClr>
                <a:buSzPts val="1600"/>
              </a:pPr>
              <a:r>
                <a:rPr lang="en-US">
                  <a:solidFill>
                    <a:schemeClr val="dk1"/>
                  </a:solidFill>
                  <a:latin typeface="Calibri"/>
                  <a:ea typeface="Calibri"/>
                  <a:cs typeface="Calibri"/>
                </a:rPr>
                <a:t>Ask attendees to share their perspectives, experiences, and recommendations to promote respectful care.</a:t>
              </a:r>
            </a:p>
          </p:txBody>
        </p:sp>
        <p:sp>
          <p:nvSpPr>
            <p:cNvPr id="11364" name="Google Shape;11364;p28"/>
            <p:cNvSpPr/>
            <p:nvPr/>
          </p:nvSpPr>
          <p:spPr>
            <a:xfrm>
              <a:off x="7808831" y="1157002"/>
              <a:ext cx="3901555" cy="983520"/>
            </a:xfrm>
            <a:prstGeom prst="rect">
              <a:avLst/>
            </a:prstGeom>
            <a:solidFill>
              <a:srgbClr val="D2DCFC">
                <a:alpha val="89803"/>
              </a:srgbClr>
            </a:solidFill>
            <a:ln w="9525" cap="flat" cmpd="sng">
              <a:solidFill>
                <a:srgbClr val="D2DCFC">
                  <a:alpha val="8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5" name="Google Shape;11365;p28"/>
            <p:cNvSpPr txBox="1"/>
            <p:nvPr/>
          </p:nvSpPr>
          <p:spPr>
            <a:xfrm>
              <a:off x="7808831" y="1157002"/>
              <a:ext cx="3901555" cy="98352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13775" tIns="20300" rIns="113775" bIns="20300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chemeClr val="dk1"/>
                </a:buClr>
                <a:buSzPts val="1600"/>
              </a:pPr>
              <a:r>
                <a:rPr lang="en-US">
                  <a:solidFill>
                    <a:schemeClr val="dk1"/>
                  </a:solidFill>
                  <a:latin typeface="Calibri"/>
                  <a:ea typeface="Calibri"/>
                  <a:cs typeface="Calibri"/>
                </a:rPr>
                <a:t>Celebrate respectful care and patient voices with attendees and enjoy breakfast and discussion together!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132504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41925E-6270-4A5A-68D8-D4C1B437C8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56268"/>
            <a:ext cx="6683829" cy="1347334"/>
          </a:xfrm>
        </p:spPr>
        <p:txBody>
          <a:bodyPr/>
          <a:lstStyle/>
          <a:p>
            <a:r>
              <a:rPr lang="en-US"/>
              <a:t>Momma's Voices Patient Family Partner Train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FF3B87-1F94-1012-A7BD-DDE5CD9D49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597025"/>
            <a:ext cx="10972800" cy="4351338"/>
          </a:xfrm>
        </p:spPr>
        <p:txBody>
          <a:bodyPr/>
          <a:lstStyle/>
          <a:p>
            <a:r>
              <a:rPr lang="en-US" sz="2800"/>
              <a:t>FREE for the first 20 patient partners identified ($450 value)!</a:t>
            </a:r>
          </a:p>
          <a:p>
            <a:r>
              <a:rPr lang="en-US" sz="2800"/>
              <a:t>Please share the name and contact information of your patient partner with ILPQC to get access to this free training for your patient partn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0258B5-5AC8-4054-E859-CA8D96E840B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1</a:t>
            </a:fld>
            <a:endParaRPr lang="en-US"/>
          </a:p>
        </p:txBody>
      </p:sp>
      <p:pic>
        <p:nvPicPr>
          <p:cNvPr id="5" name="Picture 4" descr="A group of women sitting in chairs&#10;&#10;Description automatically generated">
            <a:extLst>
              <a:ext uri="{FF2B5EF4-FFF2-40B4-BE49-F238E27FC236}">
                <a16:creationId xmlns:a16="http://schemas.microsoft.com/office/drawing/2014/main" id="{DCCBF0D8-BA7D-4A51-FA95-0E8974F3501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6257" y="3311180"/>
            <a:ext cx="7859486" cy="3045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9712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15065" y="3371325"/>
            <a:ext cx="7326488" cy="1616047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600" b="1" dirty="0">
                <a:ea typeface="Lato"/>
                <a:cs typeface="Calibri"/>
              </a:rPr>
              <a:t>Bekah Bischoff </a:t>
            </a:r>
            <a:endParaRPr lang="en-US" sz="2600" dirty="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444C55"/>
                </a:solidFill>
                <a:ea typeface="Lato"/>
                <a:cs typeface="+mn-lt"/>
              </a:rPr>
              <a:t>Program Manager</a:t>
            </a:r>
            <a:endParaRPr lang="en-US" dirty="0">
              <a:solidFill>
                <a:srgbClr val="444C55"/>
              </a:solidFill>
              <a:ea typeface="Lato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 err="1">
                <a:solidFill>
                  <a:srgbClr val="444C55"/>
                </a:solidFill>
                <a:ea typeface="Lato"/>
                <a:cs typeface="+mn-lt"/>
              </a:rPr>
              <a:t>MoMMA's</a:t>
            </a:r>
            <a:r>
              <a:rPr lang="en-US" dirty="0">
                <a:solidFill>
                  <a:srgbClr val="444C55"/>
                </a:solidFill>
                <a:ea typeface="Lato"/>
                <a:cs typeface="+mn-lt"/>
              </a:rPr>
              <a:t> Voices</a:t>
            </a:r>
            <a:endParaRPr lang="en-US" dirty="0">
              <a:ea typeface="Lato"/>
            </a:endParaRPr>
          </a:p>
          <a:p>
            <a:pPr>
              <a:spcBef>
                <a:spcPts val="200"/>
              </a:spcBef>
              <a:spcAft>
                <a:spcPts val="200"/>
              </a:spcAft>
            </a:pPr>
            <a:endParaRPr lang="en-US">
              <a:ea typeface="Lato"/>
              <a:cs typeface="+mn-lt"/>
            </a:endParaRPr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  <a:p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BC093EC-99F5-6790-044A-B93DFA51710F}"/>
              </a:ext>
            </a:extLst>
          </p:cNvPr>
          <p:cNvSpPr txBox="1">
            <a:spLocks/>
          </p:cNvSpPr>
          <p:nvPr/>
        </p:nvSpPr>
        <p:spPr>
          <a:xfrm>
            <a:off x="1610948" y="1160813"/>
            <a:ext cx="8964239" cy="201467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000" b="1" i="0" kern="1200">
                <a:solidFill>
                  <a:schemeClr val="tx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>
              <a:spcBef>
                <a:spcPts val="0"/>
              </a:spcBef>
            </a:pPr>
            <a:r>
              <a:rPr lang="en-US" err="1">
                <a:solidFill>
                  <a:schemeClr val="accent1"/>
                </a:solidFill>
                <a:latin typeface="Calibri"/>
                <a:ea typeface="+mj-lt"/>
                <a:cs typeface="Arial"/>
              </a:rPr>
              <a:t>MoMMA’s</a:t>
            </a:r>
            <a:r>
              <a:rPr lang="en-US">
                <a:solidFill>
                  <a:schemeClr val="accent1"/>
                </a:solidFill>
                <a:latin typeface="Calibri"/>
                <a:ea typeface="+mj-lt"/>
                <a:cs typeface="Arial"/>
              </a:rPr>
              <a:t> Voic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8CA45EA-7F09-0D04-A1C2-07A188AB5E0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</p:spTree>
    <p:extLst>
      <p:ext uri="{BB962C8B-B14F-4D97-AF65-F5344CB8AC3E}">
        <p14:creationId xmlns:p14="http://schemas.microsoft.com/office/powerpoint/2010/main" val="19515357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36A363-5758-048B-0681-8F5EF15634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Celebrating our Patient Partners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9064AC5-6379-2EF2-80E7-33DAE15131C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519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10EB215C-7839-4CEA-AA02-B8F7755F9C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91011C6D-05BE-4D99-8C11-A0E478B129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0915134" cy="2251389"/>
          </a:xfrm>
          <a:custGeom>
            <a:avLst/>
            <a:gdLst>
              <a:gd name="connsiteX0" fmla="*/ 0 w 10915134"/>
              <a:gd name="connsiteY0" fmla="*/ 0 h 2251389"/>
              <a:gd name="connsiteX1" fmla="*/ 10915134 w 10915134"/>
              <a:gd name="connsiteY1" fmla="*/ 0 h 2251389"/>
              <a:gd name="connsiteX2" fmla="*/ 10882980 w 10915134"/>
              <a:gd name="connsiteY2" fmla="*/ 49990 h 2251389"/>
              <a:gd name="connsiteX3" fmla="*/ 10834795 w 10915134"/>
              <a:gd name="connsiteY3" fmla="*/ 110024 h 2251389"/>
              <a:gd name="connsiteX4" fmla="*/ 10738392 w 10915134"/>
              <a:gd name="connsiteY4" fmla="*/ 165813 h 2251389"/>
              <a:gd name="connsiteX5" fmla="*/ 10633692 w 10915134"/>
              <a:gd name="connsiteY5" fmla="*/ 209264 h 2251389"/>
              <a:gd name="connsiteX6" fmla="*/ 10586800 w 10915134"/>
              <a:gd name="connsiteY6" fmla="*/ 239716 h 2251389"/>
              <a:gd name="connsiteX7" fmla="*/ 10501658 w 10915134"/>
              <a:gd name="connsiteY7" fmla="*/ 307174 h 2251389"/>
              <a:gd name="connsiteX8" fmla="*/ 10404067 w 10915134"/>
              <a:gd name="connsiteY8" fmla="*/ 412395 h 2251389"/>
              <a:gd name="connsiteX9" fmla="*/ 10380953 w 10915134"/>
              <a:gd name="connsiteY9" fmla="*/ 472334 h 2251389"/>
              <a:gd name="connsiteX10" fmla="*/ 10341416 w 10915134"/>
              <a:gd name="connsiteY10" fmla="*/ 504774 h 2251389"/>
              <a:gd name="connsiteX11" fmla="*/ 10326329 w 10915134"/>
              <a:gd name="connsiteY11" fmla="*/ 523459 h 2251389"/>
              <a:gd name="connsiteX12" fmla="*/ 10298289 w 10915134"/>
              <a:gd name="connsiteY12" fmla="*/ 532173 h 2251389"/>
              <a:gd name="connsiteX13" fmla="*/ 10243127 w 10915134"/>
              <a:gd name="connsiteY13" fmla="*/ 540715 h 2251389"/>
              <a:gd name="connsiteX14" fmla="*/ 10141243 w 10915134"/>
              <a:gd name="connsiteY14" fmla="*/ 592343 h 2251389"/>
              <a:gd name="connsiteX15" fmla="*/ 9940352 w 10915134"/>
              <a:gd name="connsiteY15" fmla="*/ 631518 h 2251389"/>
              <a:gd name="connsiteX16" fmla="*/ 9836226 w 10915134"/>
              <a:gd name="connsiteY16" fmla="*/ 660496 h 2251389"/>
              <a:gd name="connsiteX17" fmla="*/ 9686899 w 10915134"/>
              <a:gd name="connsiteY17" fmla="*/ 683782 h 2251389"/>
              <a:gd name="connsiteX18" fmla="*/ 9578209 w 10915134"/>
              <a:gd name="connsiteY18" fmla="*/ 709781 h 2251389"/>
              <a:gd name="connsiteX19" fmla="*/ 9437298 w 10915134"/>
              <a:gd name="connsiteY19" fmla="*/ 757337 h 2251389"/>
              <a:gd name="connsiteX20" fmla="*/ 9435498 w 10915134"/>
              <a:gd name="connsiteY20" fmla="*/ 759689 h 2251389"/>
              <a:gd name="connsiteX21" fmla="*/ 9413910 w 10915134"/>
              <a:gd name="connsiteY21" fmla="*/ 764531 h 2251389"/>
              <a:gd name="connsiteX22" fmla="*/ 9361370 w 10915134"/>
              <a:gd name="connsiteY22" fmla="*/ 760593 h 2251389"/>
              <a:gd name="connsiteX23" fmla="*/ 9356626 w 10915134"/>
              <a:gd name="connsiteY23" fmla="*/ 764594 h 2251389"/>
              <a:gd name="connsiteX24" fmla="*/ 9311281 w 10915134"/>
              <a:gd name="connsiteY24" fmla="*/ 769260 h 2251389"/>
              <a:gd name="connsiteX25" fmla="*/ 9311173 w 10915134"/>
              <a:gd name="connsiteY25" fmla="*/ 771337 h 2251389"/>
              <a:gd name="connsiteX26" fmla="*/ 9300658 w 10915134"/>
              <a:gd name="connsiteY26" fmla="*/ 781452 h 2251389"/>
              <a:gd name="connsiteX27" fmla="*/ 9279376 w 10915134"/>
              <a:gd name="connsiteY27" fmla="*/ 796188 h 2251389"/>
              <a:gd name="connsiteX28" fmla="*/ 9189502 w 10915134"/>
              <a:gd name="connsiteY28" fmla="*/ 860175 h 2251389"/>
              <a:gd name="connsiteX29" fmla="*/ 9180260 w 10915134"/>
              <a:gd name="connsiteY29" fmla="*/ 862300 h 2251389"/>
              <a:gd name="connsiteX30" fmla="*/ 9180186 w 10915134"/>
              <a:gd name="connsiteY30" fmla="*/ 862799 h 2251389"/>
              <a:gd name="connsiteX31" fmla="*/ 9170652 w 10915134"/>
              <a:gd name="connsiteY31" fmla="*/ 865945 h 2251389"/>
              <a:gd name="connsiteX32" fmla="*/ 9145484 w 10915134"/>
              <a:gd name="connsiteY32" fmla="*/ 870300 h 2251389"/>
              <a:gd name="connsiteX33" fmla="*/ 9140031 w 10915134"/>
              <a:gd name="connsiteY33" fmla="*/ 874741 h 2251389"/>
              <a:gd name="connsiteX34" fmla="*/ 9138892 w 10915134"/>
              <a:gd name="connsiteY34" fmla="*/ 880860 h 2251389"/>
              <a:gd name="connsiteX35" fmla="*/ 9107257 w 10915134"/>
              <a:gd name="connsiteY35" fmla="*/ 903704 h 2251389"/>
              <a:gd name="connsiteX36" fmla="*/ 9034880 w 10915134"/>
              <a:gd name="connsiteY36" fmla="*/ 948837 h 2251389"/>
              <a:gd name="connsiteX37" fmla="*/ 8950600 w 10915134"/>
              <a:gd name="connsiteY37" fmla="*/ 994853 h 2251389"/>
              <a:gd name="connsiteX38" fmla="*/ 8753014 w 10915134"/>
              <a:gd name="connsiteY38" fmla="*/ 1118658 h 2251389"/>
              <a:gd name="connsiteX39" fmla="*/ 8581094 w 10915134"/>
              <a:gd name="connsiteY39" fmla="*/ 1153261 h 2251389"/>
              <a:gd name="connsiteX40" fmla="*/ 8498175 w 10915134"/>
              <a:gd name="connsiteY40" fmla="*/ 1187969 h 2251389"/>
              <a:gd name="connsiteX41" fmla="*/ 8448788 w 10915134"/>
              <a:gd name="connsiteY41" fmla="*/ 1206463 h 2251389"/>
              <a:gd name="connsiteX42" fmla="*/ 8367996 w 10915134"/>
              <a:gd name="connsiteY42" fmla="*/ 1232783 h 2251389"/>
              <a:gd name="connsiteX43" fmla="*/ 8367423 w 10915134"/>
              <a:gd name="connsiteY43" fmla="*/ 1238278 h 2251389"/>
              <a:gd name="connsiteX44" fmla="*/ 8359640 w 10915134"/>
              <a:gd name="connsiteY44" fmla="*/ 1246782 h 2251389"/>
              <a:gd name="connsiteX45" fmla="*/ 8346100 w 10915134"/>
              <a:gd name="connsiteY45" fmla="*/ 1266142 h 2251389"/>
              <a:gd name="connsiteX46" fmla="*/ 8318833 w 10915134"/>
              <a:gd name="connsiteY46" fmla="*/ 1292714 h 2251389"/>
              <a:gd name="connsiteX47" fmla="*/ 8317719 w 10915134"/>
              <a:gd name="connsiteY47" fmla="*/ 1291904 h 2251389"/>
              <a:gd name="connsiteX48" fmla="*/ 8307730 w 10915134"/>
              <a:gd name="connsiteY48" fmla="*/ 1293984 h 2251389"/>
              <a:gd name="connsiteX49" fmla="*/ 8240756 w 10915134"/>
              <a:gd name="connsiteY49" fmla="*/ 1301537 h 2251389"/>
              <a:gd name="connsiteX50" fmla="*/ 8216639 w 10915134"/>
              <a:gd name="connsiteY50" fmla="*/ 1327887 h 2251389"/>
              <a:gd name="connsiteX51" fmla="*/ 8211337 w 10915134"/>
              <a:gd name="connsiteY51" fmla="*/ 1332570 h 2251389"/>
              <a:gd name="connsiteX52" fmla="*/ 8211048 w 10915134"/>
              <a:gd name="connsiteY52" fmla="*/ 1332403 h 2251389"/>
              <a:gd name="connsiteX53" fmla="*/ 8205085 w 10915134"/>
              <a:gd name="connsiteY53" fmla="*/ 1336831 h 2251389"/>
              <a:gd name="connsiteX54" fmla="*/ 8137554 w 10915134"/>
              <a:gd name="connsiteY54" fmla="*/ 1342145 h 2251389"/>
              <a:gd name="connsiteX55" fmla="*/ 8054564 w 10915134"/>
              <a:gd name="connsiteY55" fmla="*/ 1367911 h 2251389"/>
              <a:gd name="connsiteX56" fmla="*/ 7973237 w 10915134"/>
              <a:gd name="connsiteY56" fmla="*/ 1397544 h 2251389"/>
              <a:gd name="connsiteX57" fmla="*/ 7944198 w 10915134"/>
              <a:gd name="connsiteY57" fmla="*/ 1410276 h 2251389"/>
              <a:gd name="connsiteX58" fmla="*/ 7890643 w 10915134"/>
              <a:gd name="connsiteY58" fmla="*/ 1424144 h 2251389"/>
              <a:gd name="connsiteX59" fmla="*/ 7864997 w 10915134"/>
              <a:gd name="connsiteY59" fmla="*/ 1425023 h 2251389"/>
              <a:gd name="connsiteX60" fmla="*/ 7864067 w 10915134"/>
              <a:gd name="connsiteY60" fmla="*/ 1426002 h 2251389"/>
              <a:gd name="connsiteX61" fmla="*/ 7861153 w 10915134"/>
              <a:gd name="connsiteY61" fmla="*/ 1423038 h 2251389"/>
              <a:gd name="connsiteX62" fmla="*/ 7844586 w 10915134"/>
              <a:gd name="connsiteY62" fmla="*/ 1429169 h 2251389"/>
              <a:gd name="connsiteX63" fmla="*/ 7840350 w 10915134"/>
              <a:gd name="connsiteY63" fmla="*/ 1432451 h 2251389"/>
              <a:gd name="connsiteX64" fmla="*/ 7833722 w 10915134"/>
              <a:gd name="connsiteY64" fmla="*/ 1435148 h 2251389"/>
              <a:gd name="connsiteX65" fmla="*/ 7833492 w 10915134"/>
              <a:gd name="connsiteY65" fmla="*/ 1434901 h 2251389"/>
              <a:gd name="connsiteX66" fmla="*/ 7827413 w 10915134"/>
              <a:gd name="connsiteY66" fmla="*/ 1438043 h 2251389"/>
              <a:gd name="connsiteX67" fmla="*/ 7798463 w 10915134"/>
              <a:gd name="connsiteY67" fmla="*/ 1457407 h 2251389"/>
              <a:gd name="connsiteX68" fmla="*/ 7759015 w 10915134"/>
              <a:gd name="connsiteY68" fmla="*/ 1458666 h 2251389"/>
              <a:gd name="connsiteX69" fmla="*/ 7752684 w 10915134"/>
              <a:gd name="connsiteY69" fmla="*/ 1444792 h 2251389"/>
              <a:gd name="connsiteX70" fmla="*/ 7747867 w 10915134"/>
              <a:gd name="connsiteY70" fmla="*/ 1447976 h 2251389"/>
              <a:gd name="connsiteX71" fmla="*/ 7738750 w 10915134"/>
              <a:gd name="connsiteY71" fmla="*/ 1456574 h 2251389"/>
              <a:gd name="connsiteX72" fmla="*/ 7735619 w 10915134"/>
              <a:gd name="connsiteY72" fmla="*/ 1456320 h 2251389"/>
              <a:gd name="connsiteX73" fmla="*/ 7705072 w 10915134"/>
              <a:gd name="connsiteY73" fmla="*/ 1465768 h 2251389"/>
              <a:gd name="connsiteX74" fmla="*/ 7696073 w 10915134"/>
              <a:gd name="connsiteY74" fmla="*/ 1462212 h 2251389"/>
              <a:gd name="connsiteX75" fmla="*/ 7692096 w 10915134"/>
              <a:gd name="connsiteY75" fmla="*/ 1462163 h 2251389"/>
              <a:gd name="connsiteX76" fmla="*/ 7674689 w 10915134"/>
              <a:gd name="connsiteY76" fmla="*/ 1477613 h 2251389"/>
              <a:gd name="connsiteX77" fmla="*/ 7665348 w 10915134"/>
              <a:gd name="connsiteY77" fmla="*/ 1483862 h 2251389"/>
              <a:gd name="connsiteX78" fmla="*/ 7606276 w 10915134"/>
              <a:gd name="connsiteY78" fmla="*/ 1538521 h 2251389"/>
              <a:gd name="connsiteX79" fmla="*/ 7504695 w 10915134"/>
              <a:gd name="connsiteY79" fmla="*/ 1566686 h 2251389"/>
              <a:gd name="connsiteX80" fmla="*/ 7401270 w 10915134"/>
              <a:gd name="connsiteY80" fmla="*/ 1597361 h 2251389"/>
              <a:gd name="connsiteX81" fmla="*/ 7320321 w 10915134"/>
              <a:gd name="connsiteY81" fmla="*/ 1619535 h 2251389"/>
              <a:gd name="connsiteX82" fmla="*/ 7149526 w 10915134"/>
              <a:gd name="connsiteY82" fmla="*/ 1743630 h 2251389"/>
              <a:gd name="connsiteX83" fmla="*/ 7105391 w 10915134"/>
              <a:gd name="connsiteY83" fmla="*/ 1752328 h 2251389"/>
              <a:gd name="connsiteX84" fmla="*/ 7071654 w 10915134"/>
              <a:gd name="connsiteY84" fmla="*/ 1785091 h 2251389"/>
              <a:gd name="connsiteX85" fmla="*/ 7054359 w 10915134"/>
              <a:gd name="connsiteY85" fmla="*/ 1782439 h 2251389"/>
              <a:gd name="connsiteX86" fmla="*/ 7051319 w 10915134"/>
              <a:gd name="connsiteY86" fmla="*/ 1781706 h 2251389"/>
              <a:gd name="connsiteX87" fmla="*/ 7040377 w 10915134"/>
              <a:gd name="connsiteY87" fmla="*/ 1784767 h 2251389"/>
              <a:gd name="connsiteX88" fmla="*/ 7035771 w 10915134"/>
              <a:gd name="connsiteY88" fmla="*/ 1778137 h 2251389"/>
              <a:gd name="connsiteX89" fmla="*/ 7018208 w 10915134"/>
              <a:gd name="connsiteY89" fmla="*/ 1777373 h 2251389"/>
              <a:gd name="connsiteX90" fmla="*/ 6998493 w 10915134"/>
              <a:gd name="connsiteY90" fmla="*/ 1785098 h 2251389"/>
              <a:gd name="connsiteX91" fmla="*/ 6928288 w 10915134"/>
              <a:gd name="connsiteY91" fmla="*/ 1811732 h 2251389"/>
              <a:gd name="connsiteX92" fmla="*/ 6917773 w 10915134"/>
              <a:gd name="connsiteY92" fmla="*/ 1820666 h 2251389"/>
              <a:gd name="connsiteX93" fmla="*/ 6881789 w 10915134"/>
              <a:gd name="connsiteY93" fmla="*/ 1828309 h 2251389"/>
              <a:gd name="connsiteX94" fmla="*/ 6879926 w 10915134"/>
              <a:gd name="connsiteY94" fmla="*/ 1830591 h 2251389"/>
              <a:gd name="connsiteX95" fmla="*/ 6845508 w 10915134"/>
              <a:gd name="connsiteY95" fmla="*/ 1841035 h 2251389"/>
              <a:gd name="connsiteX96" fmla="*/ 6786683 w 10915134"/>
              <a:gd name="connsiteY96" fmla="*/ 1868367 h 2251389"/>
              <a:gd name="connsiteX97" fmla="*/ 6773874 w 10915134"/>
              <a:gd name="connsiteY97" fmla="*/ 1863267 h 2251389"/>
              <a:gd name="connsiteX98" fmla="*/ 6771241 w 10915134"/>
              <a:gd name="connsiteY98" fmla="*/ 1859449 h 2251389"/>
              <a:gd name="connsiteX99" fmla="*/ 6755065 w 10915134"/>
              <a:gd name="connsiteY99" fmla="*/ 1866822 h 2251389"/>
              <a:gd name="connsiteX100" fmla="*/ 6740854 w 10915134"/>
              <a:gd name="connsiteY100" fmla="*/ 1865352 h 2251389"/>
              <a:gd name="connsiteX101" fmla="*/ 6730997 w 10915134"/>
              <a:gd name="connsiteY101" fmla="*/ 1874155 h 2251389"/>
              <a:gd name="connsiteX102" fmla="*/ 6714212 w 10915134"/>
              <a:gd name="connsiteY102" fmla="*/ 1876293 h 2251389"/>
              <a:gd name="connsiteX103" fmla="*/ 6693130 w 10915134"/>
              <a:gd name="connsiteY103" fmla="*/ 1876808 h 2251389"/>
              <a:gd name="connsiteX104" fmla="*/ 6674405 w 10915134"/>
              <a:gd name="connsiteY104" fmla="*/ 1873459 h 2251389"/>
              <a:gd name="connsiteX105" fmla="*/ 6647714 w 10915134"/>
              <a:gd name="connsiteY105" fmla="*/ 1878941 h 2251389"/>
              <a:gd name="connsiteX106" fmla="*/ 6586613 w 10915134"/>
              <a:gd name="connsiteY106" fmla="*/ 1887053 h 2251389"/>
              <a:gd name="connsiteX107" fmla="*/ 6540424 w 10915134"/>
              <a:gd name="connsiteY107" fmla="*/ 1893269 h 2251389"/>
              <a:gd name="connsiteX108" fmla="*/ 6460034 w 10915134"/>
              <a:gd name="connsiteY108" fmla="*/ 1911286 h 2251389"/>
              <a:gd name="connsiteX109" fmla="*/ 6445449 w 10915134"/>
              <a:gd name="connsiteY109" fmla="*/ 1926499 h 2251389"/>
              <a:gd name="connsiteX110" fmla="*/ 6407092 w 10915134"/>
              <a:gd name="connsiteY110" fmla="*/ 1921993 h 2251389"/>
              <a:gd name="connsiteX111" fmla="*/ 6396332 w 10915134"/>
              <a:gd name="connsiteY111" fmla="*/ 1907025 h 2251389"/>
              <a:gd name="connsiteX112" fmla="*/ 6347048 w 10915134"/>
              <a:gd name="connsiteY112" fmla="*/ 1912130 h 2251389"/>
              <a:gd name="connsiteX113" fmla="*/ 6302270 w 10915134"/>
              <a:gd name="connsiteY113" fmla="*/ 1933613 h 2251389"/>
              <a:gd name="connsiteX114" fmla="*/ 6243078 w 10915134"/>
              <a:gd name="connsiteY114" fmla="*/ 1945644 h 2251389"/>
              <a:gd name="connsiteX115" fmla="*/ 6207738 w 10915134"/>
              <a:gd name="connsiteY115" fmla="*/ 1953011 h 2251389"/>
              <a:gd name="connsiteX116" fmla="*/ 6108781 w 10915134"/>
              <a:gd name="connsiteY116" fmla="*/ 1959474 h 2251389"/>
              <a:gd name="connsiteX117" fmla="*/ 6103698 w 10915134"/>
              <a:gd name="connsiteY117" fmla="*/ 1959304 h 2251389"/>
              <a:gd name="connsiteX118" fmla="*/ 6087017 w 10915134"/>
              <a:gd name="connsiteY118" fmla="*/ 1969078 h 2251389"/>
              <a:gd name="connsiteX119" fmla="*/ 6086313 w 10915134"/>
              <a:gd name="connsiteY119" fmla="*/ 1971580 h 2251389"/>
              <a:gd name="connsiteX120" fmla="*/ 6024291 w 10915134"/>
              <a:gd name="connsiteY120" fmla="*/ 1966761 h 2251389"/>
              <a:gd name="connsiteX121" fmla="*/ 6016853 w 10915134"/>
              <a:gd name="connsiteY121" fmla="*/ 1970526 h 2251389"/>
              <a:gd name="connsiteX122" fmla="*/ 5975404 w 10915134"/>
              <a:gd name="connsiteY122" fmla="*/ 1961749 h 2251389"/>
              <a:gd name="connsiteX123" fmla="*/ 5954536 w 10915134"/>
              <a:gd name="connsiteY123" fmla="*/ 1960220 h 2251389"/>
              <a:gd name="connsiteX124" fmla="*/ 5917280 w 10915134"/>
              <a:gd name="connsiteY124" fmla="*/ 1954478 h 2251389"/>
              <a:gd name="connsiteX125" fmla="*/ 5914232 w 10915134"/>
              <a:gd name="connsiteY125" fmla="*/ 1956919 h 2251389"/>
              <a:gd name="connsiteX126" fmla="*/ 5906850 w 10915134"/>
              <a:gd name="connsiteY126" fmla="*/ 1954702 h 2251389"/>
              <a:gd name="connsiteX127" fmla="*/ 5901461 w 10915134"/>
              <a:gd name="connsiteY127" fmla="*/ 1957577 h 2251389"/>
              <a:gd name="connsiteX128" fmla="*/ 5895317 w 10915134"/>
              <a:gd name="connsiteY128" fmla="*/ 1956828 h 2251389"/>
              <a:gd name="connsiteX129" fmla="*/ 5831128 w 10915134"/>
              <a:gd name="connsiteY129" fmla="*/ 1968382 h 2251389"/>
              <a:gd name="connsiteX130" fmla="*/ 5817261 w 10915134"/>
              <a:gd name="connsiteY130" fmla="*/ 1966124 h 2251389"/>
              <a:gd name="connsiteX131" fmla="*/ 5806791 w 10915134"/>
              <a:gd name="connsiteY131" fmla="*/ 1974713 h 2251389"/>
              <a:gd name="connsiteX132" fmla="*/ 5762574 w 10915134"/>
              <a:gd name="connsiteY132" fmla="*/ 1976973 h 2251389"/>
              <a:gd name="connsiteX133" fmla="*/ 5747297 w 10915134"/>
              <a:gd name="connsiteY133" fmla="*/ 1970252 h 2251389"/>
              <a:gd name="connsiteX134" fmla="*/ 5733169 w 10915134"/>
              <a:gd name="connsiteY134" fmla="*/ 1965433 h 2251389"/>
              <a:gd name="connsiteX135" fmla="*/ 5731338 w 10915134"/>
              <a:gd name="connsiteY135" fmla="*/ 1965447 h 2251389"/>
              <a:gd name="connsiteX136" fmla="*/ 5712957 w 10915134"/>
              <a:gd name="connsiteY136" fmla="*/ 1965596 h 2251389"/>
              <a:gd name="connsiteX137" fmla="*/ 5678760 w 10915134"/>
              <a:gd name="connsiteY137" fmla="*/ 1965873 h 2251389"/>
              <a:gd name="connsiteX138" fmla="*/ 5612457 w 10915134"/>
              <a:gd name="connsiteY138" fmla="*/ 1972287 h 2251389"/>
              <a:gd name="connsiteX139" fmla="*/ 5462439 w 10915134"/>
              <a:gd name="connsiteY139" fmla="*/ 1941766 h 2251389"/>
              <a:gd name="connsiteX140" fmla="*/ 5249426 w 10915134"/>
              <a:gd name="connsiteY140" fmla="*/ 1957993 h 2251389"/>
              <a:gd name="connsiteX141" fmla="*/ 4795460 w 10915134"/>
              <a:gd name="connsiteY141" fmla="*/ 2018541 h 2251389"/>
              <a:gd name="connsiteX142" fmla="*/ 4698875 w 10915134"/>
              <a:gd name="connsiteY142" fmla="*/ 2031693 h 2251389"/>
              <a:gd name="connsiteX143" fmla="*/ 4635334 w 10915134"/>
              <a:gd name="connsiteY143" fmla="*/ 2035504 h 2251389"/>
              <a:gd name="connsiteX144" fmla="*/ 4529228 w 10915134"/>
              <a:gd name="connsiteY144" fmla="*/ 2076609 h 2251389"/>
              <a:gd name="connsiteX145" fmla="*/ 4408461 w 10915134"/>
              <a:gd name="connsiteY145" fmla="*/ 2090939 h 2251389"/>
              <a:gd name="connsiteX146" fmla="*/ 4254651 w 10915134"/>
              <a:gd name="connsiteY146" fmla="*/ 2101730 h 2251389"/>
              <a:gd name="connsiteX147" fmla="*/ 4213233 w 10915134"/>
              <a:gd name="connsiteY147" fmla="*/ 2120326 h 2251389"/>
              <a:gd name="connsiteX148" fmla="*/ 4153938 w 10915134"/>
              <a:gd name="connsiteY148" fmla="*/ 2137520 h 2251389"/>
              <a:gd name="connsiteX149" fmla="*/ 4050969 w 10915134"/>
              <a:gd name="connsiteY149" fmla="*/ 2177971 h 2251389"/>
              <a:gd name="connsiteX150" fmla="*/ 3933162 w 10915134"/>
              <a:gd name="connsiteY150" fmla="*/ 2199509 h 2251389"/>
              <a:gd name="connsiteX151" fmla="*/ 3797609 w 10915134"/>
              <a:gd name="connsiteY151" fmla="*/ 2185813 h 2251389"/>
              <a:gd name="connsiteX152" fmla="*/ 3723511 w 10915134"/>
              <a:gd name="connsiteY152" fmla="*/ 2185401 h 2251389"/>
              <a:gd name="connsiteX153" fmla="*/ 3478465 w 10915134"/>
              <a:gd name="connsiteY153" fmla="*/ 2181087 h 2251389"/>
              <a:gd name="connsiteX154" fmla="*/ 3308996 w 10915134"/>
              <a:gd name="connsiteY154" fmla="*/ 2177978 h 2251389"/>
              <a:gd name="connsiteX155" fmla="*/ 3260282 w 10915134"/>
              <a:gd name="connsiteY155" fmla="*/ 2194479 h 2251389"/>
              <a:gd name="connsiteX156" fmla="*/ 3178557 w 10915134"/>
              <a:gd name="connsiteY156" fmla="*/ 2221451 h 2251389"/>
              <a:gd name="connsiteX157" fmla="*/ 3097074 w 10915134"/>
              <a:gd name="connsiteY157" fmla="*/ 2229837 h 2251389"/>
              <a:gd name="connsiteX158" fmla="*/ 3029944 w 10915134"/>
              <a:gd name="connsiteY158" fmla="*/ 2248531 h 2251389"/>
              <a:gd name="connsiteX159" fmla="*/ 2964870 w 10915134"/>
              <a:gd name="connsiteY159" fmla="*/ 2251389 h 2251389"/>
              <a:gd name="connsiteX160" fmla="*/ 2931496 w 10915134"/>
              <a:gd name="connsiteY160" fmla="*/ 2243024 h 2251389"/>
              <a:gd name="connsiteX161" fmla="*/ 2892959 w 10915134"/>
              <a:gd name="connsiteY161" fmla="*/ 2233969 h 2251389"/>
              <a:gd name="connsiteX162" fmla="*/ 2839074 w 10915134"/>
              <a:gd name="connsiteY162" fmla="*/ 2225008 h 2251389"/>
              <a:gd name="connsiteX163" fmla="*/ 2693779 w 10915134"/>
              <a:gd name="connsiteY163" fmla="*/ 2231570 h 2251389"/>
              <a:gd name="connsiteX164" fmla="*/ 2523799 w 10915134"/>
              <a:gd name="connsiteY164" fmla="*/ 2236547 h 2251389"/>
              <a:gd name="connsiteX165" fmla="*/ 2340069 w 10915134"/>
              <a:gd name="connsiteY165" fmla="*/ 2220699 h 2251389"/>
              <a:gd name="connsiteX166" fmla="*/ 2076408 w 10915134"/>
              <a:gd name="connsiteY166" fmla="*/ 2194398 h 2251389"/>
              <a:gd name="connsiteX167" fmla="*/ 1983593 w 10915134"/>
              <a:gd name="connsiteY167" fmla="*/ 2219360 h 2251389"/>
              <a:gd name="connsiteX168" fmla="*/ 1853105 w 10915134"/>
              <a:gd name="connsiteY168" fmla="*/ 2214141 h 2251389"/>
              <a:gd name="connsiteX169" fmla="*/ 1748511 w 10915134"/>
              <a:gd name="connsiteY169" fmla="*/ 2178472 h 2251389"/>
              <a:gd name="connsiteX170" fmla="*/ 1633422 w 10915134"/>
              <a:gd name="connsiteY170" fmla="*/ 2143415 h 2251389"/>
              <a:gd name="connsiteX171" fmla="*/ 1558946 w 10915134"/>
              <a:gd name="connsiteY171" fmla="*/ 2128843 h 2251389"/>
              <a:gd name="connsiteX172" fmla="*/ 1385344 w 10915134"/>
              <a:gd name="connsiteY172" fmla="*/ 2124817 h 2251389"/>
              <a:gd name="connsiteX173" fmla="*/ 1227473 w 10915134"/>
              <a:gd name="connsiteY173" fmla="*/ 2113291 h 2251389"/>
              <a:gd name="connsiteX174" fmla="*/ 1088711 w 10915134"/>
              <a:gd name="connsiteY174" fmla="*/ 2097947 h 2251389"/>
              <a:gd name="connsiteX175" fmla="*/ 939259 w 10915134"/>
              <a:gd name="connsiteY175" fmla="*/ 2073411 h 2251389"/>
              <a:gd name="connsiteX176" fmla="*/ 914345 w 10915134"/>
              <a:gd name="connsiteY176" fmla="*/ 2063135 h 2251389"/>
              <a:gd name="connsiteX177" fmla="*/ 879393 w 10915134"/>
              <a:gd name="connsiteY177" fmla="*/ 2068419 h 2251389"/>
              <a:gd name="connsiteX178" fmla="*/ 739242 w 10915134"/>
              <a:gd name="connsiteY178" fmla="*/ 2091539 h 2251389"/>
              <a:gd name="connsiteX179" fmla="*/ 628509 w 10915134"/>
              <a:gd name="connsiteY179" fmla="*/ 2108134 h 2251389"/>
              <a:gd name="connsiteX180" fmla="*/ 508046 w 10915134"/>
              <a:gd name="connsiteY180" fmla="*/ 2109851 h 2251389"/>
              <a:gd name="connsiteX181" fmla="*/ 408793 w 10915134"/>
              <a:gd name="connsiteY181" fmla="*/ 2105335 h 2251389"/>
              <a:gd name="connsiteX182" fmla="*/ 259142 w 10915134"/>
              <a:gd name="connsiteY182" fmla="*/ 2115883 h 2251389"/>
              <a:gd name="connsiteX183" fmla="*/ 91266 w 10915134"/>
              <a:gd name="connsiteY183" fmla="*/ 2135533 h 2251389"/>
              <a:gd name="connsiteX184" fmla="*/ 12251 w 10915134"/>
              <a:gd name="connsiteY184" fmla="*/ 2121489 h 2251389"/>
              <a:gd name="connsiteX185" fmla="*/ 0 w 10915134"/>
              <a:gd name="connsiteY185" fmla="*/ 2122164 h 22513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</a:cxnLst>
            <a:rect l="l" t="t" r="r" b="b"/>
            <a:pathLst>
              <a:path w="10915134" h="2251389">
                <a:moveTo>
                  <a:pt x="0" y="0"/>
                </a:moveTo>
                <a:lnTo>
                  <a:pt x="10915134" y="0"/>
                </a:lnTo>
                <a:lnTo>
                  <a:pt x="10882980" y="49990"/>
                </a:lnTo>
                <a:cubicBezTo>
                  <a:pt x="10880871" y="52147"/>
                  <a:pt x="10836905" y="107867"/>
                  <a:pt x="10834795" y="110024"/>
                </a:cubicBezTo>
                <a:cubicBezTo>
                  <a:pt x="10820319" y="128194"/>
                  <a:pt x="10762503" y="175620"/>
                  <a:pt x="10738392" y="165813"/>
                </a:cubicBezTo>
                <a:cubicBezTo>
                  <a:pt x="10748670" y="186392"/>
                  <a:pt x="10638347" y="188684"/>
                  <a:pt x="10633692" y="209264"/>
                </a:cubicBezTo>
                <a:cubicBezTo>
                  <a:pt x="10631767" y="225908"/>
                  <a:pt x="10597419" y="233945"/>
                  <a:pt x="10586800" y="239716"/>
                </a:cubicBezTo>
                <a:cubicBezTo>
                  <a:pt x="10579628" y="256520"/>
                  <a:pt x="10520682" y="224915"/>
                  <a:pt x="10501658" y="307174"/>
                </a:cubicBezTo>
                <a:cubicBezTo>
                  <a:pt x="10447727" y="313339"/>
                  <a:pt x="10447126" y="425780"/>
                  <a:pt x="10404067" y="412395"/>
                </a:cubicBezTo>
                <a:cubicBezTo>
                  <a:pt x="10392937" y="413598"/>
                  <a:pt x="10388815" y="467371"/>
                  <a:pt x="10380953" y="472334"/>
                </a:cubicBezTo>
                <a:lnTo>
                  <a:pt x="10341416" y="504774"/>
                </a:lnTo>
                <a:lnTo>
                  <a:pt x="10326329" y="523459"/>
                </a:lnTo>
                <a:lnTo>
                  <a:pt x="10298289" y="532173"/>
                </a:lnTo>
                <a:cubicBezTo>
                  <a:pt x="10284422" y="535049"/>
                  <a:pt x="10265952" y="533199"/>
                  <a:pt x="10243127" y="540715"/>
                </a:cubicBezTo>
                <a:cubicBezTo>
                  <a:pt x="10203910" y="562831"/>
                  <a:pt x="10165274" y="534580"/>
                  <a:pt x="10141243" y="592343"/>
                </a:cubicBezTo>
                <a:cubicBezTo>
                  <a:pt x="10059374" y="598371"/>
                  <a:pt x="10021953" y="650378"/>
                  <a:pt x="9940352" y="631518"/>
                </a:cubicBezTo>
                <a:cubicBezTo>
                  <a:pt x="9959797" y="646419"/>
                  <a:pt x="9860152" y="623282"/>
                  <a:pt x="9836226" y="660496"/>
                </a:cubicBezTo>
                <a:cubicBezTo>
                  <a:pt x="9788121" y="672556"/>
                  <a:pt x="9760988" y="668531"/>
                  <a:pt x="9686899" y="683782"/>
                </a:cubicBezTo>
                <a:cubicBezTo>
                  <a:pt x="9623800" y="700369"/>
                  <a:pt x="9613948" y="700871"/>
                  <a:pt x="9578209" y="709781"/>
                </a:cubicBezTo>
                <a:lnTo>
                  <a:pt x="9437298" y="757337"/>
                </a:lnTo>
                <a:lnTo>
                  <a:pt x="9435498" y="759689"/>
                </a:lnTo>
                <a:cubicBezTo>
                  <a:pt x="9426240" y="765982"/>
                  <a:pt x="9419508" y="766527"/>
                  <a:pt x="9413910" y="764531"/>
                </a:cubicBezTo>
                <a:lnTo>
                  <a:pt x="9361370" y="760593"/>
                </a:lnTo>
                <a:lnTo>
                  <a:pt x="9356626" y="764594"/>
                </a:lnTo>
                <a:lnTo>
                  <a:pt x="9311281" y="769260"/>
                </a:lnTo>
                <a:cubicBezTo>
                  <a:pt x="9311245" y="769953"/>
                  <a:pt x="9311210" y="770644"/>
                  <a:pt x="9311173" y="771337"/>
                </a:cubicBezTo>
                <a:cubicBezTo>
                  <a:pt x="9309900" y="776105"/>
                  <a:pt x="9307010" y="779823"/>
                  <a:pt x="9300658" y="781452"/>
                </a:cubicBezTo>
                <a:cubicBezTo>
                  <a:pt x="9318003" y="808459"/>
                  <a:pt x="9299643" y="793767"/>
                  <a:pt x="9279376" y="796188"/>
                </a:cubicBezTo>
                <a:cubicBezTo>
                  <a:pt x="9260850" y="809309"/>
                  <a:pt x="9206021" y="849156"/>
                  <a:pt x="9189502" y="860175"/>
                </a:cubicBezTo>
                <a:lnTo>
                  <a:pt x="9180260" y="862300"/>
                </a:lnTo>
                <a:cubicBezTo>
                  <a:pt x="9180236" y="862466"/>
                  <a:pt x="9180211" y="862633"/>
                  <a:pt x="9180186" y="862799"/>
                </a:cubicBezTo>
                <a:cubicBezTo>
                  <a:pt x="9178407" y="864232"/>
                  <a:pt x="9175456" y="865295"/>
                  <a:pt x="9170652" y="865945"/>
                </a:cubicBezTo>
                <a:lnTo>
                  <a:pt x="9145484" y="870300"/>
                </a:lnTo>
                <a:lnTo>
                  <a:pt x="9140031" y="874741"/>
                </a:lnTo>
                <a:lnTo>
                  <a:pt x="9138892" y="880860"/>
                </a:lnTo>
                <a:lnTo>
                  <a:pt x="9107257" y="903704"/>
                </a:lnTo>
                <a:cubicBezTo>
                  <a:pt x="9091321" y="899193"/>
                  <a:pt x="9043942" y="941365"/>
                  <a:pt x="9034880" y="948837"/>
                </a:cubicBezTo>
                <a:lnTo>
                  <a:pt x="8950600" y="994853"/>
                </a:lnTo>
                <a:cubicBezTo>
                  <a:pt x="8865196" y="1081843"/>
                  <a:pt x="8818875" y="1077389"/>
                  <a:pt x="8753014" y="1118658"/>
                </a:cubicBezTo>
                <a:cubicBezTo>
                  <a:pt x="8692981" y="1124704"/>
                  <a:pt x="8636332" y="1128410"/>
                  <a:pt x="8581094" y="1153261"/>
                </a:cubicBezTo>
                <a:cubicBezTo>
                  <a:pt x="8538621" y="1164812"/>
                  <a:pt x="8511758" y="1169577"/>
                  <a:pt x="8498175" y="1187969"/>
                </a:cubicBezTo>
                <a:lnTo>
                  <a:pt x="8448788" y="1206463"/>
                </a:lnTo>
                <a:lnTo>
                  <a:pt x="8367996" y="1232783"/>
                </a:lnTo>
                <a:cubicBezTo>
                  <a:pt x="8367806" y="1234615"/>
                  <a:pt x="8367614" y="1236446"/>
                  <a:pt x="8367423" y="1238278"/>
                </a:cubicBezTo>
                <a:lnTo>
                  <a:pt x="8359640" y="1246782"/>
                </a:lnTo>
                <a:lnTo>
                  <a:pt x="8346100" y="1266142"/>
                </a:lnTo>
                <a:lnTo>
                  <a:pt x="8318833" y="1292714"/>
                </a:lnTo>
                <a:lnTo>
                  <a:pt x="8317719" y="1291904"/>
                </a:lnTo>
                <a:cubicBezTo>
                  <a:pt x="8314688" y="1290662"/>
                  <a:pt x="8311461" y="1290840"/>
                  <a:pt x="8307730" y="1293984"/>
                </a:cubicBezTo>
                <a:cubicBezTo>
                  <a:pt x="8294903" y="1295590"/>
                  <a:pt x="8255937" y="1295887"/>
                  <a:pt x="8240756" y="1301537"/>
                </a:cubicBezTo>
                <a:cubicBezTo>
                  <a:pt x="8233324" y="1310481"/>
                  <a:pt x="8225256" y="1319366"/>
                  <a:pt x="8216639" y="1327887"/>
                </a:cubicBezTo>
                <a:lnTo>
                  <a:pt x="8211337" y="1332570"/>
                </a:lnTo>
                <a:lnTo>
                  <a:pt x="8211048" y="1332403"/>
                </a:lnTo>
                <a:cubicBezTo>
                  <a:pt x="8209501" y="1332874"/>
                  <a:pt x="8207607" y="1334206"/>
                  <a:pt x="8205085" y="1336831"/>
                </a:cubicBezTo>
                <a:lnTo>
                  <a:pt x="8137554" y="1342145"/>
                </a:lnTo>
                <a:cubicBezTo>
                  <a:pt x="8105705" y="1354688"/>
                  <a:pt x="8080446" y="1339423"/>
                  <a:pt x="8054564" y="1367911"/>
                </a:cubicBezTo>
                <a:cubicBezTo>
                  <a:pt x="8024726" y="1379555"/>
                  <a:pt x="7996957" y="1380148"/>
                  <a:pt x="7973237" y="1397544"/>
                </a:cubicBezTo>
                <a:cubicBezTo>
                  <a:pt x="7961439" y="1393972"/>
                  <a:pt x="7951168" y="1394796"/>
                  <a:pt x="7944198" y="1410276"/>
                </a:cubicBezTo>
                <a:cubicBezTo>
                  <a:pt x="7915673" y="1417804"/>
                  <a:pt x="7905583" y="1403950"/>
                  <a:pt x="7890643" y="1424144"/>
                </a:cubicBezTo>
                <a:cubicBezTo>
                  <a:pt x="7869590" y="1403678"/>
                  <a:pt x="7870757" y="1414314"/>
                  <a:pt x="7864997" y="1425023"/>
                </a:cubicBezTo>
                <a:lnTo>
                  <a:pt x="7864067" y="1426002"/>
                </a:lnTo>
                <a:lnTo>
                  <a:pt x="7861153" y="1423038"/>
                </a:lnTo>
                <a:lnTo>
                  <a:pt x="7844586" y="1429169"/>
                </a:lnTo>
                <a:lnTo>
                  <a:pt x="7840350" y="1432451"/>
                </a:lnTo>
                <a:cubicBezTo>
                  <a:pt x="7837357" y="1434345"/>
                  <a:pt x="7835272" y="1435129"/>
                  <a:pt x="7833722" y="1435148"/>
                </a:cubicBezTo>
                <a:lnTo>
                  <a:pt x="7833492" y="1434901"/>
                </a:lnTo>
                <a:lnTo>
                  <a:pt x="7827413" y="1438043"/>
                </a:lnTo>
                <a:cubicBezTo>
                  <a:pt x="7817294" y="1444069"/>
                  <a:pt x="7807591" y="1450613"/>
                  <a:pt x="7798463" y="1457407"/>
                </a:cubicBezTo>
                <a:cubicBezTo>
                  <a:pt x="7789625" y="1446704"/>
                  <a:pt x="7769649" y="1464040"/>
                  <a:pt x="7759015" y="1458666"/>
                </a:cubicBezTo>
                <a:lnTo>
                  <a:pt x="7752684" y="1444792"/>
                </a:lnTo>
                <a:lnTo>
                  <a:pt x="7747867" y="1447976"/>
                </a:lnTo>
                <a:lnTo>
                  <a:pt x="7738750" y="1456574"/>
                </a:lnTo>
                <a:cubicBezTo>
                  <a:pt x="7737328" y="1457741"/>
                  <a:pt x="7736297" y="1457914"/>
                  <a:pt x="7735619" y="1456320"/>
                </a:cubicBezTo>
                <a:cubicBezTo>
                  <a:pt x="7730006" y="1457852"/>
                  <a:pt x="7711662" y="1464787"/>
                  <a:pt x="7705072" y="1465768"/>
                </a:cubicBezTo>
                <a:lnTo>
                  <a:pt x="7696073" y="1462212"/>
                </a:lnTo>
                <a:lnTo>
                  <a:pt x="7692096" y="1462163"/>
                </a:lnTo>
                <a:lnTo>
                  <a:pt x="7674689" y="1477613"/>
                </a:lnTo>
                <a:lnTo>
                  <a:pt x="7665348" y="1483862"/>
                </a:lnTo>
                <a:lnTo>
                  <a:pt x="7606276" y="1538521"/>
                </a:lnTo>
                <a:lnTo>
                  <a:pt x="7504695" y="1566686"/>
                </a:lnTo>
                <a:cubicBezTo>
                  <a:pt x="7473718" y="1603709"/>
                  <a:pt x="7404436" y="1554658"/>
                  <a:pt x="7401270" y="1597361"/>
                </a:cubicBezTo>
                <a:cubicBezTo>
                  <a:pt x="7369238" y="1613154"/>
                  <a:pt x="7363418" y="1605164"/>
                  <a:pt x="7320321" y="1619535"/>
                </a:cubicBezTo>
                <a:cubicBezTo>
                  <a:pt x="7280514" y="1668809"/>
                  <a:pt x="7198683" y="1708462"/>
                  <a:pt x="7149526" y="1743630"/>
                </a:cubicBezTo>
                <a:cubicBezTo>
                  <a:pt x="7114410" y="1721934"/>
                  <a:pt x="7136043" y="1746476"/>
                  <a:pt x="7105391" y="1752328"/>
                </a:cubicBezTo>
                <a:cubicBezTo>
                  <a:pt x="7119677" y="1779725"/>
                  <a:pt x="7066212" y="1749779"/>
                  <a:pt x="7071654" y="1785091"/>
                </a:cubicBezTo>
                <a:cubicBezTo>
                  <a:pt x="7065905" y="1785038"/>
                  <a:pt x="7060161" y="1783873"/>
                  <a:pt x="7054359" y="1782439"/>
                </a:cubicBezTo>
                <a:lnTo>
                  <a:pt x="7051319" y="1781706"/>
                </a:lnTo>
                <a:lnTo>
                  <a:pt x="7040377" y="1784767"/>
                </a:lnTo>
                <a:lnTo>
                  <a:pt x="7035771" y="1778137"/>
                </a:lnTo>
                <a:lnTo>
                  <a:pt x="7018208" y="1777373"/>
                </a:lnTo>
                <a:cubicBezTo>
                  <a:pt x="7011866" y="1778247"/>
                  <a:pt x="7005318" y="1780539"/>
                  <a:pt x="6998493" y="1785098"/>
                </a:cubicBezTo>
                <a:cubicBezTo>
                  <a:pt x="6983689" y="1806072"/>
                  <a:pt x="6952865" y="1800516"/>
                  <a:pt x="6928288" y="1811732"/>
                </a:cubicBezTo>
                <a:lnTo>
                  <a:pt x="6917773" y="1820666"/>
                </a:lnTo>
                <a:lnTo>
                  <a:pt x="6881789" y="1828309"/>
                </a:lnTo>
                <a:lnTo>
                  <a:pt x="6879926" y="1830591"/>
                </a:lnTo>
                <a:cubicBezTo>
                  <a:pt x="6873880" y="1832712"/>
                  <a:pt x="6861049" y="1834739"/>
                  <a:pt x="6845508" y="1841035"/>
                </a:cubicBezTo>
                <a:lnTo>
                  <a:pt x="6786683" y="1868367"/>
                </a:lnTo>
                <a:lnTo>
                  <a:pt x="6773874" y="1863267"/>
                </a:lnTo>
                <a:lnTo>
                  <a:pt x="6771241" y="1859449"/>
                </a:lnTo>
                <a:lnTo>
                  <a:pt x="6755065" y="1866822"/>
                </a:lnTo>
                <a:lnTo>
                  <a:pt x="6740854" y="1865352"/>
                </a:lnTo>
                <a:lnTo>
                  <a:pt x="6730997" y="1874155"/>
                </a:lnTo>
                <a:lnTo>
                  <a:pt x="6714212" y="1876293"/>
                </a:lnTo>
                <a:cubicBezTo>
                  <a:pt x="6707919" y="1876308"/>
                  <a:pt x="6700834" y="1876122"/>
                  <a:pt x="6693130" y="1876808"/>
                </a:cubicBezTo>
                <a:lnTo>
                  <a:pt x="6674405" y="1873459"/>
                </a:lnTo>
                <a:lnTo>
                  <a:pt x="6647714" y="1878941"/>
                </a:lnTo>
                <a:cubicBezTo>
                  <a:pt x="6627122" y="1883360"/>
                  <a:pt x="6607220" y="1886896"/>
                  <a:pt x="6586613" y="1887053"/>
                </a:cubicBezTo>
                <a:cubicBezTo>
                  <a:pt x="6572205" y="1895536"/>
                  <a:pt x="6557706" y="1900239"/>
                  <a:pt x="6540424" y="1893269"/>
                </a:cubicBezTo>
                <a:cubicBezTo>
                  <a:pt x="6497538" y="1902769"/>
                  <a:pt x="6490601" y="1917381"/>
                  <a:pt x="6460034" y="1911286"/>
                </a:cubicBezTo>
                <a:cubicBezTo>
                  <a:pt x="6453811" y="1919532"/>
                  <a:pt x="6449254" y="1924158"/>
                  <a:pt x="6445449" y="1926499"/>
                </a:cubicBezTo>
                <a:cubicBezTo>
                  <a:pt x="6434030" y="1933525"/>
                  <a:pt x="6429411" y="1919994"/>
                  <a:pt x="6407092" y="1921993"/>
                </a:cubicBezTo>
                <a:cubicBezTo>
                  <a:pt x="6382682" y="1922166"/>
                  <a:pt x="6418607" y="1903450"/>
                  <a:pt x="6396332" y="1907025"/>
                </a:cubicBezTo>
                <a:cubicBezTo>
                  <a:pt x="6376015" y="1918727"/>
                  <a:pt x="6367614" y="1898795"/>
                  <a:pt x="6347048" y="1912130"/>
                </a:cubicBezTo>
                <a:cubicBezTo>
                  <a:pt x="6360109" y="1925598"/>
                  <a:pt x="6297691" y="1920276"/>
                  <a:pt x="6302270" y="1933613"/>
                </a:cubicBezTo>
                <a:cubicBezTo>
                  <a:pt x="6272680" y="1919839"/>
                  <a:pt x="6273323" y="1945036"/>
                  <a:pt x="6243078" y="1945644"/>
                </a:cubicBezTo>
                <a:cubicBezTo>
                  <a:pt x="6226744" y="1941607"/>
                  <a:pt x="6216828" y="1942552"/>
                  <a:pt x="6207738" y="1953011"/>
                </a:cubicBezTo>
                <a:cubicBezTo>
                  <a:pt x="6131633" y="1932600"/>
                  <a:pt x="6170923" y="1959774"/>
                  <a:pt x="6108781" y="1959474"/>
                </a:cubicBezTo>
                <a:lnTo>
                  <a:pt x="6103698" y="1959304"/>
                </a:lnTo>
                <a:lnTo>
                  <a:pt x="6087017" y="1969078"/>
                </a:lnTo>
                <a:cubicBezTo>
                  <a:pt x="6086783" y="1969912"/>
                  <a:pt x="6086547" y="1970745"/>
                  <a:pt x="6086313" y="1971580"/>
                </a:cubicBezTo>
                <a:lnTo>
                  <a:pt x="6024291" y="1966761"/>
                </a:lnTo>
                <a:lnTo>
                  <a:pt x="6016853" y="1970526"/>
                </a:lnTo>
                <a:lnTo>
                  <a:pt x="5975404" y="1961749"/>
                </a:lnTo>
                <a:lnTo>
                  <a:pt x="5954536" y="1960220"/>
                </a:lnTo>
                <a:lnTo>
                  <a:pt x="5917280" y="1954478"/>
                </a:lnTo>
                <a:lnTo>
                  <a:pt x="5914232" y="1956919"/>
                </a:lnTo>
                <a:lnTo>
                  <a:pt x="5906850" y="1954702"/>
                </a:lnTo>
                <a:lnTo>
                  <a:pt x="5901461" y="1957577"/>
                </a:lnTo>
                <a:lnTo>
                  <a:pt x="5895317" y="1956828"/>
                </a:lnTo>
                <a:cubicBezTo>
                  <a:pt x="5883595" y="1958629"/>
                  <a:pt x="5844137" y="1966833"/>
                  <a:pt x="5831128" y="1968382"/>
                </a:cubicBezTo>
                <a:lnTo>
                  <a:pt x="5817261" y="1966124"/>
                </a:lnTo>
                <a:lnTo>
                  <a:pt x="5806791" y="1974713"/>
                </a:lnTo>
                <a:lnTo>
                  <a:pt x="5762574" y="1976973"/>
                </a:lnTo>
                <a:lnTo>
                  <a:pt x="5747297" y="1970252"/>
                </a:lnTo>
                <a:lnTo>
                  <a:pt x="5733169" y="1965433"/>
                </a:lnTo>
                <a:lnTo>
                  <a:pt x="5731338" y="1965447"/>
                </a:lnTo>
                <a:lnTo>
                  <a:pt x="5712957" y="1965596"/>
                </a:lnTo>
                <a:lnTo>
                  <a:pt x="5678760" y="1965873"/>
                </a:lnTo>
                <a:cubicBezTo>
                  <a:pt x="5656934" y="1966331"/>
                  <a:pt x="5634795" y="1967772"/>
                  <a:pt x="5612457" y="1972287"/>
                </a:cubicBezTo>
                <a:cubicBezTo>
                  <a:pt x="5527023" y="1949966"/>
                  <a:pt x="5534401" y="1947926"/>
                  <a:pt x="5462439" y="1941766"/>
                </a:cubicBezTo>
                <a:cubicBezTo>
                  <a:pt x="5427425" y="1917624"/>
                  <a:pt x="5291183" y="1960519"/>
                  <a:pt x="5249426" y="1957993"/>
                </a:cubicBezTo>
                <a:cubicBezTo>
                  <a:pt x="5146406" y="1973328"/>
                  <a:pt x="4927624" y="2044719"/>
                  <a:pt x="4795460" y="2018541"/>
                </a:cubicBezTo>
                <a:cubicBezTo>
                  <a:pt x="4762844" y="2022395"/>
                  <a:pt x="4718233" y="2031407"/>
                  <a:pt x="4698875" y="2031693"/>
                </a:cubicBezTo>
                <a:lnTo>
                  <a:pt x="4635334" y="2035504"/>
                </a:lnTo>
                <a:lnTo>
                  <a:pt x="4529228" y="2076609"/>
                </a:lnTo>
                <a:cubicBezTo>
                  <a:pt x="4475152" y="2050383"/>
                  <a:pt x="4475600" y="2080729"/>
                  <a:pt x="4408461" y="2090939"/>
                </a:cubicBezTo>
                <a:cubicBezTo>
                  <a:pt x="4383821" y="2082708"/>
                  <a:pt x="4268804" y="2082966"/>
                  <a:pt x="4254651" y="2101730"/>
                </a:cubicBezTo>
                <a:cubicBezTo>
                  <a:pt x="4238862" y="2106286"/>
                  <a:pt x="4220313" y="2100544"/>
                  <a:pt x="4213233" y="2120326"/>
                </a:cubicBezTo>
                <a:cubicBezTo>
                  <a:pt x="4201430" y="2144259"/>
                  <a:pt x="4145731" y="2110137"/>
                  <a:pt x="4153938" y="2137520"/>
                </a:cubicBezTo>
                <a:cubicBezTo>
                  <a:pt x="4114396" y="2114195"/>
                  <a:pt x="4083806" y="2164553"/>
                  <a:pt x="4050969" y="2177971"/>
                </a:cubicBezTo>
                <a:cubicBezTo>
                  <a:pt x="4019767" y="2177378"/>
                  <a:pt x="4005088" y="2190554"/>
                  <a:pt x="3933162" y="2199509"/>
                </a:cubicBezTo>
                <a:cubicBezTo>
                  <a:pt x="3898830" y="2172322"/>
                  <a:pt x="3861284" y="2221170"/>
                  <a:pt x="3797609" y="2185813"/>
                </a:cubicBezTo>
                <a:cubicBezTo>
                  <a:pt x="3795667" y="2189772"/>
                  <a:pt x="3776702" y="2186188"/>
                  <a:pt x="3723511" y="2185401"/>
                </a:cubicBezTo>
                <a:cubicBezTo>
                  <a:pt x="3670320" y="2184613"/>
                  <a:pt x="3558625" y="2184230"/>
                  <a:pt x="3478465" y="2181087"/>
                </a:cubicBezTo>
                <a:cubicBezTo>
                  <a:pt x="3387474" y="2181789"/>
                  <a:pt x="3428499" y="2219948"/>
                  <a:pt x="3308996" y="2177978"/>
                </a:cubicBezTo>
                <a:cubicBezTo>
                  <a:pt x="3299910" y="2200517"/>
                  <a:pt x="3285785" y="2202748"/>
                  <a:pt x="3260282" y="2194479"/>
                </a:cubicBezTo>
                <a:cubicBezTo>
                  <a:pt x="3216295" y="2196427"/>
                  <a:pt x="3227371" y="2250251"/>
                  <a:pt x="3178557" y="2221451"/>
                </a:cubicBezTo>
                <a:cubicBezTo>
                  <a:pt x="3146795" y="2234329"/>
                  <a:pt x="3117401" y="2220418"/>
                  <a:pt x="3097074" y="2229837"/>
                </a:cubicBezTo>
                <a:lnTo>
                  <a:pt x="3029944" y="2248531"/>
                </a:lnTo>
                <a:cubicBezTo>
                  <a:pt x="2992804" y="2254069"/>
                  <a:pt x="2982389" y="2213943"/>
                  <a:pt x="2964870" y="2251389"/>
                </a:cubicBezTo>
                <a:lnTo>
                  <a:pt x="2931496" y="2243024"/>
                </a:lnTo>
                <a:lnTo>
                  <a:pt x="2892959" y="2233969"/>
                </a:lnTo>
                <a:cubicBezTo>
                  <a:pt x="2872669" y="2227791"/>
                  <a:pt x="2882203" y="2234774"/>
                  <a:pt x="2839074" y="2225008"/>
                </a:cubicBezTo>
                <a:cubicBezTo>
                  <a:pt x="2811442" y="2251884"/>
                  <a:pt x="2766379" y="2232117"/>
                  <a:pt x="2693779" y="2231570"/>
                </a:cubicBezTo>
                <a:lnTo>
                  <a:pt x="2523799" y="2236547"/>
                </a:lnTo>
                <a:cubicBezTo>
                  <a:pt x="2466172" y="2242686"/>
                  <a:pt x="2414634" y="2227724"/>
                  <a:pt x="2340069" y="2220699"/>
                </a:cubicBezTo>
                <a:cubicBezTo>
                  <a:pt x="2265503" y="2213674"/>
                  <a:pt x="2139796" y="2191971"/>
                  <a:pt x="2076408" y="2194398"/>
                </a:cubicBezTo>
                <a:cubicBezTo>
                  <a:pt x="2032508" y="2197562"/>
                  <a:pt x="2027933" y="2185141"/>
                  <a:pt x="1983593" y="2219360"/>
                </a:cubicBezTo>
                <a:cubicBezTo>
                  <a:pt x="1947094" y="2209205"/>
                  <a:pt x="1890960" y="2218305"/>
                  <a:pt x="1853105" y="2214141"/>
                </a:cubicBezTo>
                <a:cubicBezTo>
                  <a:pt x="1825748" y="2216625"/>
                  <a:pt x="1783192" y="2179879"/>
                  <a:pt x="1748511" y="2178472"/>
                </a:cubicBezTo>
                <a:cubicBezTo>
                  <a:pt x="1703498" y="2196202"/>
                  <a:pt x="1694831" y="2157630"/>
                  <a:pt x="1633422" y="2143415"/>
                </a:cubicBezTo>
                <a:cubicBezTo>
                  <a:pt x="1607630" y="2161065"/>
                  <a:pt x="1579060" y="2145077"/>
                  <a:pt x="1558946" y="2128843"/>
                </a:cubicBezTo>
                <a:cubicBezTo>
                  <a:pt x="1499069" y="2134267"/>
                  <a:pt x="1452565" y="2133855"/>
                  <a:pt x="1385344" y="2124817"/>
                </a:cubicBezTo>
                <a:cubicBezTo>
                  <a:pt x="1312492" y="2145463"/>
                  <a:pt x="1299315" y="2122756"/>
                  <a:pt x="1227473" y="2113291"/>
                </a:cubicBezTo>
                <a:cubicBezTo>
                  <a:pt x="1199075" y="2120045"/>
                  <a:pt x="1149241" y="2095660"/>
                  <a:pt x="1088711" y="2097947"/>
                </a:cubicBezTo>
                <a:cubicBezTo>
                  <a:pt x="1048569" y="2095382"/>
                  <a:pt x="1091396" y="2061344"/>
                  <a:pt x="939259" y="2073411"/>
                </a:cubicBezTo>
                <a:cubicBezTo>
                  <a:pt x="930603" y="2080267"/>
                  <a:pt x="912274" y="2072716"/>
                  <a:pt x="914345" y="2063135"/>
                </a:cubicBezTo>
                <a:cubicBezTo>
                  <a:pt x="904674" y="2065915"/>
                  <a:pt x="881392" y="2083881"/>
                  <a:pt x="879393" y="2068419"/>
                </a:cubicBezTo>
                <a:cubicBezTo>
                  <a:pt x="831068" y="2065554"/>
                  <a:pt x="782797" y="2073516"/>
                  <a:pt x="739242" y="2091539"/>
                </a:cubicBezTo>
                <a:cubicBezTo>
                  <a:pt x="713063" y="2085924"/>
                  <a:pt x="685973" y="2097939"/>
                  <a:pt x="628509" y="2108134"/>
                </a:cubicBezTo>
                <a:cubicBezTo>
                  <a:pt x="575136" y="2076613"/>
                  <a:pt x="570057" y="2131408"/>
                  <a:pt x="508046" y="2109851"/>
                </a:cubicBezTo>
                <a:cubicBezTo>
                  <a:pt x="473420" y="2105939"/>
                  <a:pt x="433697" y="2091842"/>
                  <a:pt x="408793" y="2105335"/>
                </a:cubicBezTo>
                <a:cubicBezTo>
                  <a:pt x="383633" y="2099507"/>
                  <a:pt x="299763" y="2118030"/>
                  <a:pt x="259142" y="2115883"/>
                </a:cubicBezTo>
                <a:cubicBezTo>
                  <a:pt x="191085" y="2103328"/>
                  <a:pt x="127146" y="2128850"/>
                  <a:pt x="91266" y="2135533"/>
                </a:cubicBezTo>
                <a:cubicBezTo>
                  <a:pt x="55346" y="2131669"/>
                  <a:pt x="37547" y="2122850"/>
                  <a:pt x="12251" y="2121489"/>
                </a:cubicBezTo>
                <a:lnTo>
                  <a:pt x="0" y="2122164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228DB4-66FD-54C8-5008-A4527AB91B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7037" y="609600"/>
            <a:ext cx="5915197" cy="1330519"/>
          </a:xfrm>
        </p:spPr>
        <p:txBody>
          <a:bodyPr>
            <a:normAutofit/>
          </a:bodyPr>
          <a:lstStyle/>
          <a:p>
            <a:r>
              <a:rPr lang="en-US">
                <a:ea typeface="Lato Medium"/>
                <a:cs typeface="Lato Medium"/>
              </a:rPr>
              <a:t>Who is a Patient Partner?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3ABBBF-289E-B468-BF20-F3C35E26A1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2088" y="2264146"/>
            <a:ext cx="6627826" cy="4229752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90000"/>
              </a:lnSpc>
            </a:pPr>
            <a:r>
              <a:rPr lang="en-US" sz="2200" b="1">
                <a:ea typeface="Lato"/>
                <a:cs typeface="Lato"/>
              </a:rPr>
              <a:t>Patient Partners </a:t>
            </a:r>
            <a:r>
              <a:rPr lang="en-US" sz="2200">
                <a:ea typeface="Lato"/>
                <a:cs typeface="Lato"/>
              </a:rPr>
              <a:t>are community members who have received perinatal care and participate in quality improvement (QI) efforts, using their personal experience to improve perinatal care and the patient experience of respectful care.</a:t>
            </a:r>
          </a:p>
          <a:p>
            <a:pPr>
              <a:lnSpc>
                <a:spcPct val="90000"/>
              </a:lnSpc>
            </a:pPr>
            <a:r>
              <a:rPr lang="en-US" sz="2200">
                <a:ea typeface="Lato"/>
                <a:cs typeface="Lato"/>
              </a:rPr>
              <a:t>Patient and community partners:</a:t>
            </a:r>
          </a:p>
          <a:p>
            <a:pPr lvl="1">
              <a:lnSpc>
                <a:spcPct val="90000"/>
              </a:lnSpc>
            </a:pPr>
            <a:r>
              <a:rPr lang="en-US" sz="2200" b="1">
                <a:ea typeface="Lato"/>
                <a:cs typeface="Lato"/>
              </a:rPr>
              <a:t>Collaborate and communicate</a:t>
            </a:r>
            <a:r>
              <a:rPr lang="en-US" sz="2200">
                <a:ea typeface="Lato"/>
                <a:cs typeface="Lato"/>
              </a:rPr>
              <a:t> with various patients, families, health care professionals, and public health professionals</a:t>
            </a:r>
          </a:p>
          <a:p>
            <a:pPr lvl="1">
              <a:lnSpc>
                <a:spcPct val="90000"/>
              </a:lnSpc>
              <a:buClr>
                <a:srgbClr val="1C498B"/>
              </a:buClr>
            </a:pPr>
            <a:r>
              <a:rPr lang="en-US" sz="2200" b="1">
                <a:ea typeface="Lato"/>
                <a:cs typeface="Lato"/>
              </a:rPr>
              <a:t>Share their stories</a:t>
            </a:r>
            <a:r>
              <a:rPr lang="en-US" sz="2200">
                <a:ea typeface="Lato"/>
                <a:cs typeface="Lato"/>
              </a:rPr>
              <a:t> and identify both positive aspects of their experience and suggestions to improve car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6BFFEA99-E831-4C3B-8D16-0EA4AB33FF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595584" y="610517"/>
            <a:ext cx="4010943" cy="5636963"/>
          </a:xfrm>
          <a:custGeom>
            <a:avLst/>
            <a:gdLst>
              <a:gd name="connsiteX0" fmla="*/ 0 w 2400300"/>
              <a:gd name="connsiteY0" fmla="*/ 0 h 2400300"/>
              <a:gd name="connsiteX1" fmla="*/ 2400300 w 2400300"/>
              <a:gd name="connsiteY1" fmla="*/ 0 h 2400300"/>
              <a:gd name="connsiteX2" fmla="*/ 2400300 w 2400300"/>
              <a:gd name="connsiteY2" fmla="*/ 2400300 h 2400300"/>
              <a:gd name="connsiteX3" fmla="*/ 0 w 2400300"/>
              <a:gd name="connsiteY3" fmla="*/ 2400300 h 240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0300" h="2400300">
                <a:moveTo>
                  <a:pt x="0" y="0"/>
                </a:moveTo>
                <a:lnTo>
                  <a:pt x="2400300" y="0"/>
                </a:lnTo>
                <a:lnTo>
                  <a:pt x="2400300" y="2400300"/>
                </a:lnTo>
                <a:lnTo>
                  <a:pt x="0" y="24003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>
            <a:outerShdw blurRad="25400" dist="12700" dir="3000000" algn="tl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6" name="Picture 5" descr="A close-up of a flyer&#10;&#10;Description automatically generated">
            <a:extLst>
              <a:ext uri="{FF2B5EF4-FFF2-40B4-BE49-F238E27FC236}">
                <a16:creationId xmlns:a16="http://schemas.microsoft.com/office/drawing/2014/main" id="{7879A382-9CE1-15F6-A122-71136F07889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59026" y="-722"/>
            <a:ext cx="4748917" cy="6735563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19DE75-CB94-02DA-6A1A-55D0A96DF7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1000"/>
              <a:t>Illinois Perinatal Quality Collaborativ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3B9FD11D-7561-43C8-BE54-00D7DCF0E2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55391" y="5800300"/>
            <a:ext cx="5736610" cy="1057702"/>
          </a:xfrm>
          <a:custGeom>
            <a:avLst/>
            <a:gdLst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39115 w 5741575"/>
              <a:gd name="connsiteY7" fmla="*/ 949326 h 955271"/>
              <a:gd name="connsiteX8" fmla="*/ 93851 w 5741575"/>
              <a:gd name="connsiteY8" fmla="*/ 945611 h 955271"/>
              <a:gd name="connsiteX9" fmla="*/ 148657 w 5741575"/>
              <a:gd name="connsiteY9" fmla="*/ 898134 h 955271"/>
              <a:gd name="connsiteX10" fmla="*/ 174554 w 5741575"/>
              <a:gd name="connsiteY10" fmla="*/ 886351 h 955271"/>
              <a:gd name="connsiteX11" fmla="*/ 187633 w 5741575"/>
              <a:gd name="connsiteY11" fmla="*/ 878226 h 955271"/>
              <a:gd name="connsiteX12" fmla="*/ 187961 w 5741575"/>
              <a:gd name="connsiteY12" fmla="*/ 876538 h 955271"/>
              <a:gd name="connsiteX13" fmla="*/ 240501 w 5741575"/>
              <a:gd name="connsiteY13" fmla="*/ 873150 h 955271"/>
              <a:gd name="connsiteX14" fmla="*/ 246345 w 5741575"/>
              <a:gd name="connsiteY14" fmla="*/ 869942 h 955271"/>
              <a:gd name="connsiteX15" fmla="*/ 282041 w 5741575"/>
              <a:gd name="connsiteY15" fmla="*/ 871263 h 955271"/>
              <a:gd name="connsiteX16" fmla="*/ 299711 w 5741575"/>
              <a:gd name="connsiteY16" fmla="*/ 870064 h 955271"/>
              <a:gd name="connsiteX17" fmla="*/ 306299 w 5741575"/>
              <a:gd name="connsiteY17" fmla="*/ 873609 h 955271"/>
              <a:gd name="connsiteX18" fmla="*/ 331571 w 5741575"/>
              <a:gd name="connsiteY18" fmla="*/ 869866 h 955271"/>
              <a:gd name="connsiteX19" fmla="*/ 333872 w 5741575"/>
              <a:gd name="connsiteY19" fmla="*/ 867971 h 955271"/>
              <a:gd name="connsiteX20" fmla="*/ 356953 w 5741575"/>
              <a:gd name="connsiteY20" fmla="*/ 870334 h 955271"/>
              <a:gd name="connsiteX21" fmla="*/ 379005 w 5741575"/>
              <a:gd name="connsiteY21" fmla="*/ 878900 h 955271"/>
              <a:gd name="connsiteX22" fmla="*/ 585428 w 5741575"/>
              <a:gd name="connsiteY22" fmla="*/ 826440 h 955271"/>
              <a:gd name="connsiteX23" fmla="*/ 787156 w 5741575"/>
              <a:gd name="connsiteY23" fmla="*/ 838447 h 955271"/>
              <a:gd name="connsiteX24" fmla="*/ 898586 w 5741575"/>
              <a:gd name="connsiteY24" fmla="*/ 808502 h 955271"/>
              <a:gd name="connsiteX25" fmla="*/ 924063 w 5741575"/>
              <a:gd name="connsiteY25" fmla="*/ 770210 h 955271"/>
              <a:gd name="connsiteX26" fmla="*/ 1212574 w 5741575"/>
              <a:gd name="connsiteY26" fmla="*/ 724238 h 955271"/>
              <a:gd name="connsiteX27" fmla="*/ 1280768 w 5741575"/>
              <a:gd name="connsiteY27" fmla="*/ 699122 h 955271"/>
              <a:gd name="connsiteX28" fmla="*/ 1352027 w 5741575"/>
              <a:gd name="connsiteY28" fmla="*/ 704323 h 955271"/>
              <a:gd name="connsiteX29" fmla="*/ 1374314 w 5741575"/>
              <a:gd name="connsiteY29" fmla="*/ 688815 h 955271"/>
              <a:gd name="connsiteX30" fmla="*/ 1378034 w 5741575"/>
              <a:gd name="connsiteY30" fmla="*/ 685842 h 955271"/>
              <a:gd name="connsiteX31" fmla="*/ 1395604 w 5741575"/>
              <a:gd name="connsiteY31" fmla="*/ 680460 h 955271"/>
              <a:gd name="connsiteX32" fmla="*/ 1397206 w 5741575"/>
              <a:gd name="connsiteY32" fmla="*/ 670793 h 955271"/>
              <a:gd name="connsiteX33" fmla="*/ 1421250 w 5741575"/>
              <a:gd name="connsiteY33" fmla="*/ 656855 h 955271"/>
              <a:gd name="connsiteX34" fmla="*/ 1454524 w 5741575"/>
              <a:gd name="connsiteY34" fmla="*/ 649224 h 955271"/>
              <a:gd name="connsiteX35" fmla="*/ 1616217 w 5741575"/>
              <a:gd name="connsiteY35" fmla="*/ 622107 h 955271"/>
              <a:gd name="connsiteX36" fmla="*/ 1710928 w 5741575"/>
              <a:gd name="connsiteY36" fmla="*/ 600666 h 955271"/>
              <a:gd name="connsiteX37" fmla="*/ 1743718 w 5741575"/>
              <a:gd name="connsiteY37" fmla="*/ 584327 h 955271"/>
              <a:gd name="connsiteX38" fmla="*/ 1791651 w 5741575"/>
              <a:gd name="connsiteY38" fmla="*/ 567019 h 955271"/>
              <a:gd name="connsiteX39" fmla="*/ 1873778 w 5741575"/>
              <a:gd name="connsiteY39" fmla="*/ 530130 h 955271"/>
              <a:gd name="connsiteX40" fmla="*/ 1988411 w 5741575"/>
              <a:gd name="connsiteY40" fmla="*/ 491599 h 955271"/>
              <a:gd name="connsiteX41" fmla="*/ 2085507 w 5741575"/>
              <a:gd name="connsiteY41" fmla="*/ 498527 h 955271"/>
              <a:gd name="connsiteX42" fmla="*/ 2090767 w 5741575"/>
              <a:gd name="connsiteY42" fmla="*/ 490616 h 955271"/>
              <a:gd name="connsiteX43" fmla="*/ 2151143 w 5741575"/>
              <a:gd name="connsiteY43" fmla="*/ 478332 h 955271"/>
              <a:gd name="connsiteX44" fmla="*/ 2378710 w 5741575"/>
              <a:gd name="connsiteY44" fmla="*/ 477570 h 955271"/>
              <a:gd name="connsiteX45" fmla="*/ 2496256 w 5741575"/>
              <a:gd name="connsiteY45" fmla="*/ 452396 h 955271"/>
              <a:gd name="connsiteX46" fmla="*/ 2535387 w 5741575"/>
              <a:gd name="connsiteY46" fmla="*/ 436645 h 955271"/>
              <a:gd name="connsiteX47" fmla="*/ 2601109 w 5741575"/>
              <a:gd name="connsiteY47" fmla="*/ 410678 h 955271"/>
              <a:gd name="connsiteX48" fmla="*/ 2643855 w 5741575"/>
              <a:gd name="connsiteY48" fmla="*/ 374482 h 955271"/>
              <a:gd name="connsiteX49" fmla="*/ 2657726 w 5741575"/>
              <a:gd name="connsiteY49" fmla="*/ 365841 h 955271"/>
              <a:gd name="connsiteX50" fmla="*/ 2687125 w 5741575"/>
              <a:gd name="connsiteY50" fmla="*/ 366820 h 955271"/>
              <a:gd name="connsiteX51" fmla="*/ 2697479 w 5741575"/>
              <a:gd name="connsiteY51" fmla="*/ 361430 h 955271"/>
              <a:gd name="connsiteX52" fmla="*/ 2701547 w 5741575"/>
              <a:gd name="connsiteY52" fmla="*/ 361545 h 955271"/>
              <a:gd name="connsiteX53" fmla="*/ 2711054 w 5741575"/>
              <a:gd name="connsiteY53" fmla="*/ 360597 h 955271"/>
              <a:gd name="connsiteX54" fmla="*/ 2710438 w 5741575"/>
              <a:gd name="connsiteY54" fmla="*/ 366958 h 955271"/>
              <a:gd name="connsiteX55" fmla="*/ 2722936 w 5741575"/>
              <a:gd name="connsiteY55" fmla="*/ 377633 h 955271"/>
              <a:gd name="connsiteX56" fmla="*/ 2777227 w 5741575"/>
              <a:gd name="connsiteY56" fmla="*/ 368972 h 955271"/>
              <a:gd name="connsiteX57" fmla="*/ 2779510 w 5741575"/>
              <a:gd name="connsiteY57" fmla="*/ 361652 h 955271"/>
              <a:gd name="connsiteX58" fmla="*/ 2786278 w 5741575"/>
              <a:gd name="connsiteY58" fmla="*/ 359869 h 955271"/>
              <a:gd name="connsiteX59" fmla="*/ 2792101 w 5741575"/>
              <a:gd name="connsiteY59" fmla="*/ 365927 h 955271"/>
              <a:gd name="connsiteX60" fmla="*/ 2885545 w 5741575"/>
              <a:gd name="connsiteY60" fmla="*/ 372818 h 955271"/>
              <a:gd name="connsiteX61" fmla="*/ 3009558 w 5741575"/>
              <a:gd name="connsiteY61" fmla="*/ 370573 h 955271"/>
              <a:gd name="connsiteX62" fmla="*/ 3095010 w 5741575"/>
              <a:gd name="connsiteY62" fmla="*/ 332454 h 955271"/>
              <a:gd name="connsiteX63" fmla="*/ 3103742 w 5741575"/>
              <a:gd name="connsiteY63" fmla="*/ 337974 h 955271"/>
              <a:gd name="connsiteX64" fmla="*/ 3165093 w 5741575"/>
              <a:gd name="connsiteY64" fmla="*/ 329459 h 955271"/>
              <a:gd name="connsiteX65" fmla="*/ 3373785 w 5741575"/>
              <a:gd name="connsiteY65" fmla="*/ 255680 h 955271"/>
              <a:gd name="connsiteX66" fmla="*/ 3493851 w 5741575"/>
              <a:gd name="connsiteY66" fmla="*/ 240255 h 955271"/>
              <a:gd name="connsiteX67" fmla="*/ 3537470 w 5741575"/>
              <a:gd name="connsiteY67" fmla="*/ 241867 h 955271"/>
              <a:gd name="connsiteX68" fmla="*/ 3610489 w 5741575"/>
              <a:gd name="connsiteY68" fmla="*/ 244128 h 955271"/>
              <a:gd name="connsiteX69" fmla="*/ 3667539 w 5741575"/>
              <a:gd name="connsiteY69" fmla="*/ 263271 h 955271"/>
              <a:gd name="connsiteX70" fmla="*/ 3727614 w 5741575"/>
              <a:gd name="connsiteY70" fmla="*/ 258245 h 955271"/>
              <a:gd name="connsiteX71" fmla="*/ 3738369 w 5741575"/>
              <a:gd name="connsiteY71" fmla="*/ 234506 h 955271"/>
              <a:gd name="connsiteX72" fmla="*/ 3803670 w 5741575"/>
              <a:gd name="connsiteY72" fmla="*/ 236457 h 955271"/>
              <a:gd name="connsiteX73" fmla="*/ 3903080 w 5741575"/>
              <a:gd name="connsiteY73" fmla="*/ 241890 h 955271"/>
              <a:gd name="connsiteX74" fmla="*/ 3959588 w 5741575"/>
              <a:gd name="connsiteY74" fmla="*/ 239195 h 955271"/>
              <a:gd name="connsiteX75" fmla="*/ 4114838 w 5741575"/>
              <a:gd name="connsiteY75" fmla="*/ 238165 h 955271"/>
              <a:gd name="connsiteX76" fmla="*/ 4271023 w 5741575"/>
              <a:gd name="connsiteY76" fmla="*/ 241959 h 955271"/>
              <a:gd name="connsiteX77" fmla="*/ 4367397 w 5741575"/>
              <a:gd name="connsiteY77" fmla="*/ 271442 h 955271"/>
              <a:gd name="connsiteX78" fmla="*/ 4495366 w 5741575"/>
              <a:gd name="connsiteY78" fmla="*/ 271618 h 955271"/>
              <a:gd name="connsiteX79" fmla="*/ 4517347 w 5741575"/>
              <a:gd name="connsiteY79" fmla="*/ 275639 h 955271"/>
              <a:gd name="connsiteX80" fmla="*/ 4546116 w 5741575"/>
              <a:gd name="connsiteY80" fmla="*/ 268568 h 955271"/>
              <a:gd name="connsiteX81" fmla="*/ 4661259 w 5741575"/>
              <a:gd name="connsiteY81" fmla="*/ 238966 h 955271"/>
              <a:gd name="connsiteX82" fmla="*/ 4750403 w 5741575"/>
              <a:gd name="connsiteY82" fmla="*/ 204364 h 955271"/>
              <a:gd name="connsiteX83" fmla="*/ 4867614 w 5741575"/>
              <a:gd name="connsiteY83" fmla="*/ 208668 h 955271"/>
              <a:gd name="connsiteX84" fmla="*/ 4937036 w 5741575"/>
              <a:gd name="connsiteY84" fmla="*/ 195446 h 955271"/>
              <a:gd name="connsiteX85" fmla="*/ 5047626 w 5741575"/>
              <a:gd name="connsiteY85" fmla="*/ 149604 h 955271"/>
              <a:gd name="connsiteX86" fmla="*/ 5200247 w 5741575"/>
              <a:gd name="connsiteY86" fmla="*/ 142695 h 955271"/>
              <a:gd name="connsiteX87" fmla="*/ 5235691 w 5741575"/>
              <a:gd name="connsiteY87" fmla="*/ 173330 h 955271"/>
              <a:gd name="connsiteX88" fmla="*/ 5280133 w 5741575"/>
              <a:gd name="connsiteY88" fmla="*/ 189342 h 955271"/>
              <a:gd name="connsiteX89" fmla="*/ 5291963 w 5741575"/>
              <a:gd name="connsiteY89" fmla="*/ 139446 h 955271"/>
              <a:gd name="connsiteX90" fmla="*/ 5418472 w 5741575"/>
              <a:gd name="connsiteY90" fmla="*/ 89163 h 955271"/>
              <a:gd name="connsiteX91" fmla="*/ 5482354 w 5741575"/>
              <a:gd name="connsiteY91" fmla="*/ 69470 h 955271"/>
              <a:gd name="connsiteX92" fmla="*/ 5583280 w 5741575"/>
              <a:gd name="connsiteY92" fmla="*/ 49787 h 955271"/>
              <a:gd name="connsiteX93" fmla="*/ 5613766 w 5741575"/>
              <a:gd name="connsiteY93" fmla="*/ 41855 h 955271"/>
              <a:gd name="connsiteX94" fmla="*/ 5684952 w 5741575"/>
              <a:gd name="connsiteY94" fmla="*/ 26088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39115 w 5741575"/>
              <a:gd name="connsiteY7" fmla="*/ 949326 h 955271"/>
              <a:gd name="connsiteX8" fmla="*/ 93851 w 5741575"/>
              <a:gd name="connsiteY8" fmla="*/ 945611 h 955271"/>
              <a:gd name="connsiteX9" fmla="*/ 148657 w 5741575"/>
              <a:gd name="connsiteY9" fmla="*/ 898134 h 955271"/>
              <a:gd name="connsiteX10" fmla="*/ 174554 w 5741575"/>
              <a:gd name="connsiteY10" fmla="*/ 886351 h 955271"/>
              <a:gd name="connsiteX11" fmla="*/ 187633 w 5741575"/>
              <a:gd name="connsiteY11" fmla="*/ 878226 h 955271"/>
              <a:gd name="connsiteX12" fmla="*/ 187961 w 5741575"/>
              <a:gd name="connsiteY12" fmla="*/ 876538 h 955271"/>
              <a:gd name="connsiteX13" fmla="*/ 240501 w 5741575"/>
              <a:gd name="connsiteY13" fmla="*/ 873150 h 955271"/>
              <a:gd name="connsiteX14" fmla="*/ 246345 w 5741575"/>
              <a:gd name="connsiteY14" fmla="*/ 869942 h 955271"/>
              <a:gd name="connsiteX15" fmla="*/ 282041 w 5741575"/>
              <a:gd name="connsiteY15" fmla="*/ 871263 h 955271"/>
              <a:gd name="connsiteX16" fmla="*/ 299711 w 5741575"/>
              <a:gd name="connsiteY16" fmla="*/ 870064 h 955271"/>
              <a:gd name="connsiteX17" fmla="*/ 306299 w 5741575"/>
              <a:gd name="connsiteY17" fmla="*/ 873609 h 955271"/>
              <a:gd name="connsiteX18" fmla="*/ 331571 w 5741575"/>
              <a:gd name="connsiteY18" fmla="*/ 869866 h 955271"/>
              <a:gd name="connsiteX19" fmla="*/ 333872 w 5741575"/>
              <a:gd name="connsiteY19" fmla="*/ 867971 h 955271"/>
              <a:gd name="connsiteX20" fmla="*/ 356953 w 5741575"/>
              <a:gd name="connsiteY20" fmla="*/ 870334 h 955271"/>
              <a:gd name="connsiteX21" fmla="*/ 379005 w 5741575"/>
              <a:gd name="connsiteY21" fmla="*/ 878900 h 955271"/>
              <a:gd name="connsiteX22" fmla="*/ 585428 w 5741575"/>
              <a:gd name="connsiteY22" fmla="*/ 826440 h 955271"/>
              <a:gd name="connsiteX23" fmla="*/ 787156 w 5741575"/>
              <a:gd name="connsiteY23" fmla="*/ 838447 h 955271"/>
              <a:gd name="connsiteX24" fmla="*/ 898586 w 5741575"/>
              <a:gd name="connsiteY24" fmla="*/ 808502 h 955271"/>
              <a:gd name="connsiteX25" fmla="*/ 924063 w 5741575"/>
              <a:gd name="connsiteY25" fmla="*/ 770210 h 955271"/>
              <a:gd name="connsiteX26" fmla="*/ 1212574 w 5741575"/>
              <a:gd name="connsiteY26" fmla="*/ 724238 h 955271"/>
              <a:gd name="connsiteX27" fmla="*/ 1280768 w 5741575"/>
              <a:gd name="connsiteY27" fmla="*/ 699122 h 955271"/>
              <a:gd name="connsiteX28" fmla="*/ 1352027 w 5741575"/>
              <a:gd name="connsiteY28" fmla="*/ 704323 h 955271"/>
              <a:gd name="connsiteX29" fmla="*/ 1374314 w 5741575"/>
              <a:gd name="connsiteY29" fmla="*/ 688815 h 955271"/>
              <a:gd name="connsiteX30" fmla="*/ 1378034 w 5741575"/>
              <a:gd name="connsiteY30" fmla="*/ 685842 h 955271"/>
              <a:gd name="connsiteX31" fmla="*/ 1395604 w 5741575"/>
              <a:gd name="connsiteY31" fmla="*/ 680460 h 955271"/>
              <a:gd name="connsiteX32" fmla="*/ 1397206 w 5741575"/>
              <a:gd name="connsiteY32" fmla="*/ 670793 h 955271"/>
              <a:gd name="connsiteX33" fmla="*/ 1421250 w 5741575"/>
              <a:gd name="connsiteY33" fmla="*/ 656855 h 955271"/>
              <a:gd name="connsiteX34" fmla="*/ 1454524 w 5741575"/>
              <a:gd name="connsiteY34" fmla="*/ 649224 h 955271"/>
              <a:gd name="connsiteX35" fmla="*/ 1616217 w 5741575"/>
              <a:gd name="connsiteY35" fmla="*/ 622107 h 955271"/>
              <a:gd name="connsiteX36" fmla="*/ 1710928 w 5741575"/>
              <a:gd name="connsiteY36" fmla="*/ 600666 h 955271"/>
              <a:gd name="connsiteX37" fmla="*/ 1743718 w 5741575"/>
              <a:gd name="connsiteY37" fmla="*/ 584327 h 955271"/>
              <a:gd name="connsiteX38" fmla="*/ 1791651 w 5741575"/>
              <a:gd name="connsiteY38" fmla="*/ 567019 h 955271"/>
              <a:gd name="connsiteX39" fmla="*/ 1873778 w 5741575"/>
              <a:gd name="connsiteY39" fmla="*/ 530130 h 955271"/>
              <a:gd name="connsiteX40" fmla="*/ 1988411 w 5741575"/>
              <a:gd name="connsiteY40" fmla="*/ 491599 h 955271"/>
              <a:gd name="connsiteX41" fmla="*/ 2085507 w 5741575"/>
              <a:gd name="connsiteY41" fmla="*/ 498527 h 955271"/>
              <a:gd name="connsiteX42" fmla="*/ 2090767 w 5741575"/>
              <a:gd name="connsiteY42" fmla="*/ 490616 h 955271"/>
              <a:gd name="connsiteX43" fmla="*/ 2151143 w 5741575"/>
              <a:gd name="connsiteY43" fmla="*/ 478332 h 955271"/>
              <a:gd name="connsiteX44" fmla="*/ 2378710 w 5741575"/>
              <a:gd name="connsiteY44" fmla="*/ 477570 h 955271"/>
              <a:gd name="connsiteX45" fmla="*/ 2496256 w 5741575"/>
              <a:gd name="connsiteY45" fmla="*/ 452396 h 955271"/>
              <a:gd name="connsiteX46" fmla="*/ 2535387 w 5741575"/>
              <a:gd name="connsiteY46" fmla="*/ 436645 h 955271"/>
              <a:gd name="connsiteX47" fmla="*/ 2601109 w 5741575"/>
              <a:gd name="connsiteY47" fmla="*/ 410678 h 955271"/>
              <a:gd name="connsiteX48" fmla="*/ 2643855 w 5741575"/>
              <a:gd name="connsiteY48" fmla="*/ 374482 h 955271"/>
              <a:gd name="connsiteX49" fmla="*/ 2657726 w 5741575"/>
              <a:gd name="connsiteY49" fmla="*/ 365841 h 955271"/>
              <a:gd name="connsiteX50" fmla="*/ 2687125 w 5741575"/>
              <a:gd name="connsiteY50" fmla="*/ 366820 h 955271"/>
              <a:gd name="connsiteX51" fmla="*/ 2697479 w 5741575"/>
              <a:gd name="connsiteY51" fmla="*/ 361430 h 955271"/>
              <a:gd name="connsiteX52" fmla="*/ 2701547 w 5741575"/>
              <a:gd name="connsiteY52" fmla="*/ 361545 h 955271"/>
              <a:gd name="connsiteX53" fmla="*/ 2711054 w 5741575"/>
              <a:gd name="connsiteY53" fmla="*/ 360597 h 955271"/>
              <a:gd name="connsiteX54" fmla="*/ 2710438 w 5741575"/>
              <a:gd name="connsiteY54" fmla="*/ 366958 h 955271"/>
              <a:gd name="connsiteX55" fmla="*/ 2722936 w 5741575"/>
              <a:gd name="connsiteY55" fmla="*/ 377633 h 955271"/>
              <a:gd name="connsiteX56" fmla="*/ 2777227 w 5741575"/>
              <a:gd name="connsiteY56" fmla="*/ 368972 h 955271"/>
              <a:gd name="connsiteX57" fmla="*/ 2779510 w 5741575"/>
              <a:gd name="connsiteY57" fmla="*/ 361652 h 955271"/>
              <a:gd name="connsiteX58" fmla="*/ 2786278 w 5741575"/>
              <a:gd name="connsiteY58" fmla="*/ 359869 h 955271"/>
              <a:gd name="connsiteX59" fmla="*/ 2792101 w 5741575"/>
              <a:gd name="connsiteY59" fmla="*/ 365927 h 955271"/>
              <a:gd name="connsiteX60" fmla="*/ 2885545 w 5741575"/>
              <a:gd name="connsiteY60" fmla="*/ 372818 h 955271"/>
              <a:gd name="connsiteX61" fmla="*/ 3009558 w 5741575"/>
              <a:gd name="connsiteY61" fmla="*/ 370573 h 955271"/>
              <a:gd name="connsiteX62" fmla="*/ 3095010 w 5741575"/>
              <a:gd name="connsiteY62" fmla="*/ 332454 h 955271"/>
              <a:gd name="connsiteX63" fmla="*/ 3103742 w 5741575"/>
              <a:gd name="connsiteY63" fmla="*/ 337974 h 955271"/>
              <a:gd name="connsiteX64" fmla="*/ 3165093 w 5741575"/>
              <a:gd name="connsiteY64" fmla="*/ 329459 h 955271"/>
              <a:gd name="connsiteX65" fmla="*/ 3373785 w 5741575"/>
              <a:gd name="connsiteY65" fmla="*/ 255680 h 955271"/>
              <a:gd name="connsiteX66" fmla="*/ 3493851 w 5741575"/>
              <a:gd name="connsiteY66" fmla="*/ 240255 h 955271"/>
              <a:gd name="connsiteX67" fmla="*/ 3537470 w 5741575"/>
              <a:gd name="connsiteY67" fmla="*/ 241867 h 955271"/>
              <a:gd name="connsiteX68" fmla="*/ 3610489 w 5741575"/>
              <a:gd name="connsiteY68" fmla="*/ 244128 h 955271"/>
              <a:gd name="connsiteX69" fmla="*/ 3667539 w 5741575"/>
              <a:gd name="connsiteY69" fmla="*/ 263271 h 955271"/>
              <a:gd name="connsiteX70" fmla="*/ 3727614 w 5741575"/>
              <a:gd name="connsiteY70" fmla="*/ 258245 h 955271"/>
              <a:gd name="connsiteX71" fmla="*/ 3738369 w 5741575"/>
              <a:gd name="connsiteY71" fmla="*/ 234506 h 955271"/>
              <a:gd name="connsiteX72" fmla="*/ 3803670 w 5741575"/>
              <a:gd name="connsiteY72" fmla="*/ 236457 h 955271"/>
              <a:gd name="connsiteX73" fmla="*/ 3903080 w 5741575"/>
              <a:gd name="connsiteY73" fmla="*/ 241890 h 955271"/>
              <a:gd name="connsiteX74" fmla="*/ 4114838 w 5741575"/>
              <a:gd name="connsiteY74" fmla="*/ 238165 h 955271"/>
              <a:gd name="connsiteX75" fmla="*/ 4271023 w 5741575"/>
              <a:gd name="connsiteY75" fmla="*/ 241959 h 955271"/>
              <a:gd name="connsiteX76" fmla="*/ 4367397 w 5741575"/>
              <a:gd name="connsiteY76" fmla="*/ 271442 h 955271"/>
              <a:gd name="connsiteX77" fmla="*/ 4495366 w 5741575"/>
              <a:gd name="connsiteY77" fmla="*/ 271618 h 955271"/>
              <a:gd name="connsiteX78" fmla="*/ 4517347 w 5741575"/>
              <a:gd name="connsiteY78" fmla="*/ 275639 h 955271"/>
              <a:gd name="connsiteX79" fmla="*/ 4546116 w 5741575"/>
              <a:gd name="connsiteY79" fmla="*/ 268568 h 955271"/>
              <a:gd name="connsiteX80" fmla="*/ 4661259 w 5741575"/>
              <a:gd name="connsiteY80" fmla="*/ 238966 h 955271"/>
              <a:gd name="connsiteX81" fmla="*/ 4750403 w 5741575"/>
              <a:gd name="connsiteY81" fmla="*/ 204364 h 955271"/>
              <a:gd name="connsiteX82" fmla="*/ 4867614 w 5741575"/>
              <a:gd name="connsiteY82" fmla="*/ 208668 h 955271"/>
              <a:gd name="connsiteX83" fmla="*/ 4937036 w 5741575"/>
              <a:gd name="connsiteY83" fmla="*/ 195446 h 955271"/>
              <a:gd name="connsiteX84" fmla="*/ 5047626 w 5741575"/>
              <a:gd name="connsiteY84" fmla="*/ 149604 h 955271"/>
              <a:gd name="connsiteX85" fmla="*/ 5200247 w 5741575"/>
              <a:gd name="connsiteY85" fmla="*/ 142695 h 955271"/>
              <a:gd name="connsiteX86" fmla="*/ 5235691 w 5741575"/>
              <a:gd name="connsiteY86" fmla="*/ 173330 h 955271"/>
              <a:gd name="connsiteX87" fmla="*/ 5280133 w 5741575"/>
              <a:gd name="connsiteY87" fmla="*/ 189342 h 955271"/>
              <a:gd name="connsiteX88" fmla="*/ 5291963 w 5741575"/>
              <a:gd name="connsiteY88" fmla="*/ 139446 h 955271"/>
              <a:gd name="connsiteX89" fmla="*/ 5418472 w 5741575"/>
              <a:gd name="connsiteY89" fmla="*/ 89163 h 955271"/>
              <a:gd name="connsiteX90" fmla="*/ 5482354 w 5741575"/>
              <a:gd name="connsiteY90" fmla="*/ 69470 h 955271"/>
              <a:gd name="connsiteX91" fmla="*/ 5583280 w 5741575"/>
              <a:gd name="connsiteY91" fmla="*/ 49787 h 955271"/>
              <a:gd name="connsiteX92" fmla="*/ 5613766 w 5741575"/>
              <a:gd name="connsiteY92" fmla="*/ 41855 h 955271"/>
              <a:gd name="connsiteX93" fmla="*/ 5684952 w 5741575"/>
              <a:gd name="connsiteY93" fmla="*/ 26088 h 955271"/>
              <a:gd name="connsiteX94" fmla="*/ 5741575 w 5741575"/>
              <a:gd name="connsiteY94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39115 w 5741575"/>
              <a:gd name="connsiteY7" fmla="*/ 949326 h 955271"/>
              <a:gd name="connsiteX8" fmla="*/ 93851 w 5741575"/>
              <a:gd name="connsiteY8" fmla="*/ 945611 h 955271"/>
              <a:gd name="connsiteX9" fmla="*/ 148657 w 5741575"/>
              <a:gd name="connsiteY9" fmla="*/ 898134 h 955271"/>
              <a:gd name="connsiteX10" fmla="*/ 174554 w 5741575"/>
              <a:gd name="connsiteY10" fmla="*/ 886351 h 955271"/>
              <a:gd name="connsiteX11" fmla="*/ 187633 w 5741575"/>
              <a:gd name="connsiteY11" fmla="*/ 878226 h 955271"/>
              <a:gd name="connsiteX12" fmla="*/ 187961 w 5741575"/>
              <a:gd name="connsiteY12" fmla="*/ 876538 h 955271"/>
              <a:gd name="connsiteX13" fmla="*/ 240501 w 5741575"/>
              <a:gd name="connsiteY13" fmla="*/ 873150 h 955271"/>
              <a:gd name="connsiteX14" fmla="*/ 246345 w 5741575"/>
              <a:gd name="connsiteY14" fmla="*/ 869942 h 955271"/>
              <a:gd name="connsiteX15" fmla="*/ 282041 w 5741575"/>
              <a:gd name="connsiteY15" fmla="*/ 871263 h 955271"/>
              <a:gd name="connsiteX16" fmla="*/ 299711 w 5741575"/>
              <a:gd name="connsiteY16" fmla="*/ 870064 h 955271"/>
              <a:gd name="connsiteX17" fmla="*/ 306299 w 5741575"/>
              <a:gd name="connsiteY17" fmla="*/ 873609 h 955271"/>
              <a:gd name="connsiteX18" fmla="*/ 331571 w 5741575"/>
              <a:gd name="connsiteY18" fmla="*/ 869866 h 955271"/>
              <a:gd name="connsiteX19" fmla="*/ 333872 w 5741575"/>
              <a:gd name="connsiteY19" fmla="*/ 867971 h 955271"/>
              <a:gd name="connsiteX20" fmla="*/ 356953 w 5741575"/>
              <a:gd name="connsiteY20" fmla="*/ 870334 h 955271"/>
              <a:gd name="connsiteX21" fmla="*/ 379005 w 5741575"/>
              <a:gd name="connsiteY21" fmla="*/ 878900 h 955271"/>
              <a:gd name="connsiteX22" fmla="*/ 585428 w 5741575"/>
              <a:gd name="connsiteY22" fmla="*/ 826440 h 955271"/>
              <a:gd name="connsiteX23" fmla="*/ 787156 w 5741575"/>
              <a:gd name="connsiteY23" fmla="*/ 838447 h 955271"/>
              <a:gd name="connsiteX24" fmla="*/ 898586 w 5741575"/>
              <a:gd name="connsiteY24" fmla="*/ 808502 h 955271"/>
              <a:gd name="connsiteX25" fmla="*/ 924063 w 5741575"/>
              <a:gd name="connsiteY25" fmla="*/ 770210 h 955271"/>
              <a:gd name="connsiteX26" fmla="*/ 1212574 w 5741575"/>
              <a:gd name="connsiteY26" fmla="*/ 724238 h 955271"/>
              <a:gd name="connsiteX27" fmla="*/ 1280768 w 5741575"/>
              <a:gd name="connsiteY27" fmla="*/ 699122 h 955271"/>
              <a:gd name="connsiteX28" fmla="*/ 1352027 w 5741575"/>
              <a:gd name="connsiteY28" fmla="*/ 704323 h 955271"/>
              <a:gd name="connsiteX29" fmla="*/ 1374314 w 5741575"/>
              <a:gd name="connsiteY29" fmla="*/ 688815 h 955271"/>
              <a:gd name="connsiteX30" fmla="*/ 1378034 w 5741575"/>
              <a:gd name="connsiteY30" fmla="*/ 685842 h 955271"/>
              <a:gd name="connsiteX31" fmla="*/ 1395604 w 5741575"/>
              <a:gd name="connsiteY31" fmla="*/ 680460 h 955271"/>
              <a:gd name="connsiteX32" fmla="*/ 1397206 w 5741575"/>
              <a:gd name="connsiteY32" fmla="*/ 670793 h 955271"/>
              <a:gd name="connsiteX33" fmla="*/ 1421250 w 5741575"/>
              <a:gd name="connsiteY33" fmla="*/ 656855 h 955271"/>
              <a:gd name="connsiteX34" fmla="*/ 1454524 w 5741575"/>
              <a:gd name="connsiteY34" fmla="*/ 649224 h 955271"/>
              <a:gd name="connsiteX35" fmla="*/ 1616217 w 5741575"/>
              <a:gd name="connsiteY35" fmla="*/ 622107 h 955271"/>
              <a:gd name="connsiteX36" fmla="*/ 1710928 w 5741575"/>
              <a:gd name="connsiteY36" fmla="*/ 600666 h 955271"/>
              <a:gd name="connsiteX37" fmla="*/ 1743718 w 5741575"/>
              <a:gd name="connsiteY37" fmla="*/ 584327 h 955271"/>
              <a:gd name="connsiteX38" fmla="*/ 1873778 w 5741575"/>
              <a:gd name="connsiteY38" fmla="*/ 530130 h 955271"/>
              <a:gd name="connsiteX39" fmla="*/ 1988411 w 5741575"/>
              <a:gd name="connsiteY39" fmla="*/ 491599 h 955271"/>
              <a:gd name="connsiteX40" fmla="*/ 2085507 w 5741575"/>
              <a:gd name="connsiteY40" fmla="*/ 498527 h 955271"/>
              <a:gd name="connsiteX41" fmla="*/ 2090767 w 5741575"/>
              <a:gd name="connsiteY41" fmla="*/ 490616 h 955271"/>
              <a:gd name="connsiteX42" fmla="*/ 2151143 w 5741575"/>
              <a:gd name="connsiteY42" fmla="*/ 478332 h 955271"/>
              <a:gd name="connsiteX43" fmla="*/ 2378710 w 5741575"/>
              <a:gd name="connsiteY43" fmla="*/ 477570 h 955271"/>
              <a:gd name="connsiteX44" fmla="*/ 2496256 w 5741575"/>
              <a:gd name="connsiteY44" fmla="*/ 452396 h 955271"/>
              <a:gd name="connsiteX45" fmla="*/ 2535387 w 5741575"/>
              <a:gd name="connsiteY45" fmla="*/ 436645 h 955271"/>
              <a:gd name="connsiteX46" fmla="*/ 2601109 w 5741575"/>
              <a:gd name="connsiteY46" fmla="*/ 410678 h 955271"/>
              <a:gd name="connsiteX47" fmla="*/ 2643855 w 5741575"/>
              <a:gd name="connsiteY47" fmla="*/ 374482 h 955271"/>
              <a:gd name="connsiteX48" fmla="*/ 2657726 w 5741575"/>
              <a:gd name="connsiteY48" fmla="*/ 365841 h 955271"/>
              <a:gd name="connsiteX49" fmla="*/ 2687125 w 5741575"/>
              <a:gd name="connsiteY49" fmla="*/ 366820 h 955271"/>
              <a:gd name="connsiteX50" fmla="*/ 2697479 w 5741575"/>
              <a:gd name="connsiteY50" fmla="*/ 361430 h 955271"/>
              <a:gd name="connsiteX51" fmla="*/ 2701547 w 5741575"/>
              <a:gd name="connsiteY51" fmla="*/ 361545 h 955271"/>
              <a:gd name="connsiteX52" fmla="*/ 2711054 w 5741575"/>
              <a:gd name="connsiteY52" fmla="*/ 360597 h 955271"/>
              <a:gd name="connsiteX53" fmla="*/ 2710438 w 5741575"/>
              <a:gd name="connsiteY53" fmla="*/ 366958 h 955271"/>
              <a:gd name="connsiteX54" fmla="*/ 2722936 w 5741575"/>
              <a:gd name="connsiteY54" fmla="*/ 377633 h 955271"/>
              <a:gd name="connsiteX55" fmla="*/ 2777227 w 5741575"/>
              <a:gd name="connsiteY55" fmla="*/ 368972 h 955271"/>
              <a:gd name="connsiteX56" fmla="*/ 2779510 w 5741575"/>
              <a:gd name="connsiteY56" fmla="*/ 361652 h 955271"/>
              <a:gd name="connsiteX57" fmla="*/ 2786278 w 5741575"/>
              <a:gd name="connsiteY57" fmla="*/ 359869 h 955271"/>
              <a:gd name="connsiteX58" fmla="*/ 2792101 w 5741575"/>
              <a:gd name="connsiteY58" fmla="*/ 365927 h 955271"/>
              <a:gd name="connsiteX59" fmla="*/ 2885545 w 5741575"/>
              <a:gd name="connsiteY59" fmla="*/ 372818 h 955271"/>
              <a:gd name="connsiteX60" fmla="*/ 3009558 w 5741575"/>
              <a:gd name="connsiteY60" fmla="*/ 370573 h 955271"/>
              <a:gd name="connsiteX61" fmla="*/ 3095010 w 5741575"/>
              <a:gd name="connsiteY61" fmla="*/ 332454 h 955271"/>
              <a:gd name="connsiteX62" fmla="*/ 3103742 w 5741575"/>
              <a:gd name="connsiteY62" fmla="*/ 337974 h 955271"/>
              <a:gd name="connsiteX63" fmla="*/ 3165093 w 5741575"/>
              <a:gd name="connsiteY63" fmla="*/ 329459 h 955271"/>
              <a:gd name="connsiteX64" fmla="*/ 3373785 w 5741575"/>
              <a:gd name="connsiteY64" fmla="*/ 255680 h 955271"/>
              <a:gd name="connsiteX65" fmla="*/ 3493851 w 5741575"/>
              <a:gd name="connsiteY65" fmla="*/ 240255 h 955271"/>
              <a:gd name="connsiteX66" fmla="*/ 3537470 w 5741575"/>
              <a:gd name="connsiteY66" fmla="*/ 241867 h 955271"/>
              <a:gd name="connsiteX67" fmla="*/ 3610489 w 5741575"/>
              <a:gd name="connsiteY67" fmla="*/ 244128 h 955271"/>
              <a:gd name="connsiteX68" fmla="*/ 3667539 w 5741575"/>
              <a:gd name="connsiteY68" fmla="*/ 263271 h 955271"/>
              <a:gd name="connsiteX69" fmla="*/ 3727614 w 5741575"/>
              <a:gd name="connsiteY69" fmla="*/ 258245 h 955271"/>
              <a:gd name="connsiteX70" fmla="*/ 3738369 w 5741575"/>
              <a:gd name="connsiteY70" fmla="*/ 234506 h 955271"/>
              <a:gd name="connsiteX71" fmla="*/ 3803670 w 5741575"/>
              <a:gd name="connsiteY71" fmla="*/ 236457 h 955271"/>
              <a:gd name="connsiteX72" fmla="*/ 3903080 w 5741575"/>
              <a:gd name="connsiteY72" fmla="*/ 241890 h 955271"/>
              <a:gd name="connsiteX73" fmla="*/ 4114838 w 5741575"/>
              <a:gd name="connsiteY73" fmla="*/ 238165 h 955271"/>
              <a:gd name="connsiteX74" fmla="*/ 4271023 w 5741575"/>
              <a:gd name="connsiteY74" fmla="*/ 241959 h 955271"/>
              <a:gd name="connsiteX75" fmla="*/ 4367397 w 5741575"/>
              <a:gd name="connsiteY75" fmla="*/ 271442 h 955271"/>
              <a:gd name="connsiteX76" fmla="*/ 4495366 w 5741575"/>
              <a:gd name="connsiteY76" fmla="*/ 271618 h 955271"/>
              <a:gd name="connsiteX77" fmla="*/ 4517347 w 5741575"/>
              <a:gd name="connsiteY77" fmla="*/ 275639 h 955271"/>
              <a:gd name="connsiteX78" fmla="*/ 4546116 w 5741575"/>
              <a:gd name="connsiteY78" fmla="*/ 268568 h 955271"/>
              <a:gd name="connsiteX79" fmla="*/ 4661259 w 5741575"/>
              <a:gd name="connsiteY79" fmla="*/ 238966 h 955271"/>
              <a:gd name="connsiteX80" fmla="*/ 4750403 w 5741575"/>
              <a:gd name="connsiteY80" fmla="*/ 204364 h 955271"/>
              <a:gd name="connsiteX81" fmla="*/ 4867614 w 5741575"/>
              <a:gd name="connsiteY81" fmla="*/ 208668 h 955271"/>
              <a:gd name="connsiteX82" fmla="*/ 4937036 w 5741575"/>
              <a:gd name="connsiteY82" fmla="*/ 195446 h 955271"/>
              <a:gd name="connsiteX83" fmla="*/ 5047626 w 5741575"/>
              <a:gd name="connsiteY83" fmla="*/ 149604 h 955271"/>
              <a:gd name="connsiteX84" fmla="*/ 5200247 w 5741575"/>
              <a:gd name="connsiteY84" fmla="*/ 142695 h 955271"/>
              <a:gd name="connsiteX85" fmla="*/ 5235691 w 5741575"/>
              <a:gd name="connsiteY85" fmla="*/ 173330 h 955271"/>
              <a:gd name="connsiteX86" fmla="*/ 5280133 w 5741575"/>
              <a:gd name="connsiteY86" fmla="*/ 189342 h 955271"/>
              <a:gd name="connsiteX87" fmla="*/ 5291963 w 5741575"/>
              <a:gd name="connsiteY87" fmla="*/ 139446 h 955271"/>
              <a:gd name="connsiteX88" fmla="*/ 5418472 w 5741575"/>
              <a:gd name="connsiteY88" fmla="*/ 89163 h 955271"/>
              <a:gd name="connsiteX89" fmla="*/ 5482354 w 5741575"/>
              <a:gd name="connsiteY89" fmla="*/ 69470 h 955271"/>
              <a:gd name="connsiteX90" fmla="*/ 5583280 w 5741575"/>
              <a:gd name="connsiteY90" fmla="*/ 49787 h 955271"/>
              <a:gd name="connsiteX91" fmla="*/ 5613766 w 5741575"/>
              <a:gd name="connsiteY91" fmla="*/ 41855 h 955271"/>
              <a:gd name="connsiteX92" fmla="*/ 5684952 w 5741575"/>
              <a:gd name="connsiteY92" fmla="*/ 26088 h 955271"/>
              <a:gd name="connsiteX93" fmla="*/ 5741575 w 5741575"/>
              <a:gd name="connsiteY93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39115 w 5741575"/>
              <a:gd name="connsiteY7" fmla="*/ 949326 h 955271"/>
              <a:gd name="connsiteX8" fmla="*/ 93851 w 5741575"/>
              <a:gd name="connsiteY8" fmla="*/ 945611 h 955271"/>
              <a:gd name="connsiteX9" fmla="*/ 148657 w 5741575"/>
              <a:gd name="connsiteY9" fmla="*/ 898134 h 955271"/>
              <a:gd name="connsiteX10" fmla="*/ 174554 w 5741575"/>
              <a:gd name="connsiteY10" fmla="*/ 886351 h 955271"/>
              <a:gd name="connsiteX11" fmla="*/ 187633 w 5741575"/>
              <a:gd name="connsiteY11" fmla="*/ 878226 h 955271"/>
              <a:gd name="connsiteX12" fmla="*/ 187961 w 5741575"/>
              <a:gd name="connsiteY12" fmla="*/ 876538 h 955271"/>
              <a:gd name="connsiteX13" fmla="*/ 240501 w 5741575"/>
              <a:gd name="connsiteY13" fmla="*/ 873150 h 955271"/>
              <a:gd name="connsiteX14" fmla="*/ 246345 w 5741575"/>
              <a:gd name="connsiteY14" fmla="*/ 869942 h 955271"/>
              <a:gd name="connsiteX15" fmla="*/ 282041 w 5741575"/>
              <a:gd name="connsiteY15" fmla="*/ 871263 h 955271"/>
              <a:gd name="connsiteX16" fmla="*/ 299711 w 5741575"/>
              <a:gd name="connsiteY16" fmla="*/ 870064 h 955271"/>
              <a:gd name="connsiteX17" fmla="*/ 306299 w 5741575"/>
              <a:gd name="connsiteY17" fmla="*/ 873609 h 955271"/>
              <a:gd name="connsiteX18" fmla="*/ 331571 w 5741575"/>
              <a:gd name="connsiteY18" fmla="*/ 869866 h 955271"/>
              <a:gd name="connsiteX19" fmla="*/ 333872 w 5741575"/>
              <a:gd name="connsiteY19" fmla="*/ 867971 h 955271"/>
              <a:gd name="connsiteX20" fmla="*/ 356953 w 5741575"/>
              <a:gd name="connsiteY20" fmla="*/ 870334 h 955271"/>
              <a:gd name="connsiteX21" fmla="*/ 379005 w 5741575"/>
              <a:gd name="connsiteY21" fmla="*/ 878900 h 955271"/>
              <a:gd name="connsiteX22" fmla="*/ 787156 w 5741575"/>
              <a:gd name="connsiteY22" fmla="*/ 838447 h 955271"/>
              <a:gd name="connsiteX23" fmla="*/ 898586 w 5741575"/>
              <a:gd name="connsiteY23" fmla="*/ 808502 h 955271"/>
              <a:gd name="connsiteX24" fmla="*/ 924063 w 5741575"/>
              <a:gd name="connsiteY24" fmla="*/ 770210 h 955271"/>
              <a:gd name="connsiteX25" fmla="*/ 1212574 w 5741575"/>
              <a:gd name="connsiteY25" fmla="*/ 724238 h 955271"/>
              <a:gd name="connsiteX26" fmla="*/ 1280768 w 5741575"/>
              <a:gd name="connsiteY26" fmla="*/ 699122 h 955271"/>
              <a:gd name="connsiteX27" fmla="*/ 1352027 w 5741575"/>
              <a:gd name="connsiteY27" fmla="*/ 704323 h 955271"/>
              <a:gd name="connsiteX28" fmla="*/ 1374314 w 5741575"/>
              <a:gd name="connsiteY28" fmla="*/ 688815 h 955271"/>
              <a:gd name="connsiteX29" fmla="*/ 1378034 w 5741575"/>
              <a:gd name="connsiteY29" fmla="*/ 685842 h 955271"/>
              <a:gd name="connsiteX30" fmla="*/ 1395604 w 5741575"/>
              <a:gd name="connsiteY30" fmla="*/ 680460 h 955271"/>
              <a:gd name="connsiteX31" fmla="*/ 1397206 w 5741575"/>
              <a:gd name="connsiteY31" fmla="*/ 670793 h 955271"/>
              <a:gd name="connsiteX32" fmla="*/ 1421250 w 5741575"/>
              <a:gd name="connsiteY32" fmla="*/ 656855 h 955271"/>
              <a:gd name="connsiteX33" fmla="*/ 1454524 w 5741575"/>
              <a:gd name="connsiteY33" fmla="*/ 649224 h 955271"/>
              <a:gd name="connsiteX34" fmla="*/ 1616217 w 5741575"/>
              <a:gd name="connsiteY34" fmla="*/ 622107 h 955271"/>
              <a:gd name="connsiteX35" fmla="*/ 1710928 w 5741575"/>
              <a:gd name="connsiteY35" fmla="*/ 600666 h 955271"/>
              <a:gd name="connsiteX36" fmla="*/ 1743718 w 5741575"/>
              <a:gd name="connsiteY36" fmla="*/ 584327 h 955271"/>
              <a:gd name="connsiteX37" fmla="*/ 1873778 w 5741575"/>
              <a:gd name="connsiteY37" fmla="*/ 530130 h 955271"/>
              <a:gd name="connsiteX38" fmla="*/ 1988411 w 5741575"/>
              <a:gd name="connsiteY38" fmla="*/ 491599 h 955271"/>
              <a:gd name="connsiteX39" fmla="*/ 2085507 w 5741575"/>
              <a:gd name="connsiteY39" fmla="*/ 498527 h 955271"/>
              <a:gd name="connsiteX40" fmla="*/ 2090767 w 5741575"/>
              <a:gd name="connsiteY40" fmla="*/ 490616 h 955271"/>
              <a:gd name="connsiteX41" fmla="*/ 2151143 w 5741575"/>
              <a:gd name="connsiteY41" fmla="*/ 478332 h 955271"/>
              <a:gd name="connsiteX42" fmla="*/ 2378710 w 5741575"/>
              <a:gd name="connsiteY42" fmla="*/ 477570 h 955271"/>
              <a:gd name="connsiteX43" fmla="*/ 2496256 w 5741575"/>
              <a:gd name="connsiteY43" fmla="*/ 452396 h 955271"/>
              <a:gd name="connsiteX44" fmla="*/ 2535387 w 5741575"/>
              <a:gd name="connsiteY44" fmla="*/ 436645 h 955271"/>
              <a:gd name="connsiteX45" fmla="*/ 2601109 w 5741575"/>
              <a:gd name="connsiteY45" fmla="*/ 410678 h 955271"/>
              <a:gd name="connsiteX46" fmla="*/ 2643855 w 5741575"/>
              <a:gd name="connsiteY46" fmla="*/ 374482 h 955271"/>
              <a:gd name="connsiteX47" fmla="*/ 2657726 w 5741575"/>
              <a:gd name="connsiteY47" fmla="*/ 365841 h 955271"/>
              <a:gd name="connsiteX48" fmla="*/ 2687125 w 5741575"/>
              <a:gd name="connsiteY48" fmla="*/ 366820 h 955271"/>
              <a:gd name="connsiteX49" fmla="*/ 2697479 w 5741575"/>
              <a:gd name="connsiteY49" fmla="*/ 361430 h 955271"/>
              <a:gd name="connsiteX50" fmla="*/ 2701547 w 5741575"/>
              <a:gd name="connsiteY50" fmla="*/ 361545 h 955271"/>
              <a:gd name="connsiteX51" fmla="*/ 2711054 w 5741575"/>
              <a:gd name="connsiteY51" fmla="*/ 360597 h 955271"/>
              <a:gd name="connsiteX52" fmla="*/ 2710438 w 5741575"/>
              <a:gd name="connsiteY52" fmla="*/ 366958 h 955271"/>
              <a:gd name="connsiteX53" fmla="*/ 2722936 w 5741575"/>
              <a:gd name="connsiteY53" fmla="*/ 377633 h 955271"/>
              <a:gd name="connsiteX54" fmla="*/ 2777227 w 5741575"/>
              <a:gd name="connsiteY54" fmla="*/ 368972 h 955271"/>
              <a:gd name="connsiteX55" fmla="*/ 2779510 w 5741575"/>
              <a:gd name="connsiteY55" fmla="*/ 361652 h 955271"/>
              <a:gd name="connsiteX56" fmla="*/ 2786278 w 5741575"/>
              <a:gd name="connsiteY56" fmla="*/ 359869 h 955271"/>
              <a:gd name="connsiteX57" fmla="*/ 2792101 w 5741575"/>
              <a:gd name="connsiteY57" fmla="*/ 365927 h 955271"/>
              <a:gd name="connsiteX58" fmla="*/ 2885545 w 5741575"/>
              <a:gd name="connsiteY58" fmla="*/ 372818 h 955271"/>
              <a:gd name="connsiteX59" fmla="*/ 3009558 w 5741575"/>
              <a:gd name="connsiteY59" fmla="*/ 370573 h 955271"/>
              <a:gd name="connsiteX60" fmla="*/ 3095010 w 5741575"/>
              <a:gd name="connsiteY60" fmla="*/ 332454 h 955271"/>
              <a:gd name="connsiteX61" fmla="*/ 3103742 w 5741575"/>
              <a:gd name="connsiteY61" fmla="*/ 337974 h 955271"/>
              <a:gd name="connsiteX62" fmla="*/ 3165093 w 5741575"/>
              <a:gd name="connsiteY62" fmla="*/ 329459 h 955271"/>
              <a:gd name="connsiteX63" fmla="*/ 3373785 w 5741575"/>
              <a:gd name="connsiteY63" fmla="*/ 255680 h 955271"/>
              <a:gd name="connsiteX64" fmla="*/ 3493851 w 5741575"/>
              <a:gd name="connsiteY64" fmla="*/ 240255 h 955271"/>
              <a:gd name="connsiteX65" fmla="*/ 3537470 w 5741575"/>
              <a:gd name="connsiteY65" fmla="*/ 241867 h 955271"/>
              <a:gd name="connsiteX66" fmla="*/ 3610489 w 5741575"/>
              <a:gd name="connsiteY66" fmla="*/ 244128 h 955271"/>
              <a:gd name="connsiteX67" fmla="*/ 3667539 w 5741575"/>
              <a:gd name="connsiteY67" fmla="*/ 263271 h 955271"/>
              <a:gd name="connsiteX68" fmla="*/ 3727614 w 5741575"/>
              <a:gd name="connsiteY68" fmla="*/ 258245 h 955271"/>
              <a:gd name="connsiteX69" fmla="*/ 3738369 w 5741575"/>
              <a:gd name="connsiteY69" fmla="*/ 234506 h 955271"/>
              <a:gd name="connsiteX70" fmla="*/ 3803670 w 5741575"/>
              <a:gd name="connsiteY70" fmla="*/ 236457 h 955271"/>
              <a:gd name="connsiteX71" fmla="*/ 3903080 w 5741575"/>
              <a:gd name="connsiteY71" fmla="*/ 241890 h 955271"/>
              <a:gd name="connsiteX72" fmla="*/ 4114838 w 5741575"/>
              <a:gd name="connsiteY72" fmla="*/ 238165 h 955271"/>
              <a:gd name="connsiteX73" fmla="*/ 4271023 w 5741575"/>
              <a:gd name="connsiteY73" fmla="*/ 241959 h 955271"/>
              <a:gd name="connsiteX74" fmla="*/ 4367397 w 5741575"/>
              <a:gd name="connsiteY74" fmla="*/ 271442 h 955271"/>
              <a:gd name="connsiteX75" fmla="*/ 4495366 w 5741575"/>
              <a:gd name="connsiteY75" fmla="*/ 271618 h 955271"/>
              <a:gd name="connsiteX76" fmla="*/ 4517347 w 5741575"/>
              <a:gd name="connsiteY76" fmla="*/ 275639 h 955271"/>
              <a:gd name="connsiteX77" fmla="*/ 4546116 w 5741575"/>
              <a:gd name="connsiteY77" fmla="*/ 268568 h 955271"/>
              <a:gd name="connsiteX78" fmla="*/ 4661259 w 5741575"/>
              <a:gd name="connsiteY78" fmla="*/ 238966 h 955271"/>
              <a:gd name="connsiteX79" fmla="*/ 4750403 w 5741575"/>
              <a:gd name="connsiteY79" fmla="*/ 204364 h 955271"/>
              <a:gd name="connsiteX80" fmla="*/ 4867614 w 5741575"/>
              <a:gd name="connsiteY80" fmla="*/ 208668 h 955271"/>
              <a:gd name="connsiteX81" fmla="*/ 4937036 w 5741575"/>
              <a:gd name="connsiteY81" fmla="*/ 195446 h 955271"/>
              <a:gd name="connsiteX82" fmla="*/ 5047626 w 5741575"/>
              <a:gd name="connsiteY82" fmla="*/ 149604 h 955271"/>
              <a:gd name="connsiteX83" fmla="*/ 5200247 w 5741575"/>
              <a:gd name="connsiteY83" fmla="*/ 142695 h 955271"/>
              <a:gd name="connsiteX84" fmla="*/ 5235691 w 5741575"/>
              <a:gd name="connsiteY84" fmla="*/ 173330 h 955271"/>
              <a:gd name="connsiteX85" fmla="*/ 5280133 w 5741575"/>
              <a:gd name="connsiteY85" fmla="*/ 189342 h 955271"/>
              <a:gd name="connsiteX86" fmla="*/ 5291963 w 5741575"/>
              <a:gd name="connsiteY86" fmla="*/ 139446 h 955271"/>
              <a:gd name="connsiteX87" fmla="*/ 5418472 w 5741575"/>
              <a:gd name="connsiteY87" fmla="*/ 89163 h 955271"/>
              <a:gd name="connsiteX88" fmla="*/ 5482354 w 5741575"/>
              <a:gd name="connsiteY88" fmla="*/ 69470 h 955271"/>
              <a:gd name="connsiteX89" fmla="*/ 5583280 w 5741575"/>
              <a:gd name="connsiteY89" fmla="*/ 49787 h 955271"/>
              <a:gd name="connsiteX90" fmla="*/ 5613766 w 5741575"/>
              <a:gd name="connsiteY90" fmla="*/ 41855 h 955271"/>
              <a:gd name="connsiteX91" fmla="*/ 5684952 w 5741575"/>
              <a:gd name="connsiteY91" fmla="*/ 26088 h 955271"/>
              <a:gd name="connsiteX92" fmla="*/ 5741575 w 5741575"/>
              <a:gd name="connsiteY92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39115 w 5741575"/>
              <a:gd name="connsiteY7" fmla="*/ 949326 h 955271"/>
              <a:gd name="connsiteX8" fmla="*/ 93851 w 5741575"/>
              <a:gd name="connsiteY8" fmla="*/ 945611 h 955271"/>
              <a:gd name="connsiteX9" fmla="*/ 148657 w 5741575"/>
              <a:gd name="connsiteY9" fmla="*/ 898134 h 955271"/>
              <a:gd name="connsiteX10" fmla="*/ 174554 w 5741575"/>
              <a:gd name="connsiteY10" fmla="*/ 886351 h 955271"/>
              <a:gd name="connsiteX11" fmla="*/ 187633 w 5741575"/>
              <a:gd name="connsiteY11" fmla="*/ 878226 h 955271"/>
              <a:gd name="connsiteX12" fmla="*/ 187961 w 5741575"/>
              <a:gd name="connsiteY12" fmla="*/ 876538 h 955271"/>
              <a:gd name="connsiteX13" fmla="*/ 240501 w 5741575"/>
              <a:gd name="connsiteY13" fmla="*/ 873150 h 955271"/>
              <a:gd name="connsiteX14" fmla="*/ 246345 w 5741575"/>
              <a:gd name="connsiteY14" fmla="*/ 869942 h 955271"/>
              <a:gd name="connsiteX15" fmla="*/ 282041 w 5741575"/>
              <a:gd name="connsiteY15" fmla="*/ 871263 h 955271"/>
              <a:gd name="connsiteX16" fmla="*/ 299711 w 5741575"/>
              <a:gd name="connsiteY16" fmla="*/ 870064 h 955271"/>
              <a:gd name="connsiteX17" fmla="*/ 306299 w 5741575"/>
              <a:gd name="connsiteY17" fmla="*/ 873609 h 955271"/>
              <a:gd name="connsiteX18" fmla="*/ 331571 w 5741575"/>
              <a:gd name="connsiteY18" fmla="*/ 869866 h 955271"/>
              <a:gd name="connsiteX19" fmla="*/ 333872 w 5741575"/>
              <a:gd name="connsiteY19" fmla="*/ 867971 h 955271"/>
              <a:gd name="connsiteX20" fmla="*/ 356953 w 5741575"/>
              <a:gd name="connsiteY20" fmla="*/ 870334 h 955271"/>
              <a:gd name="connsiteX21" fmla="*/ 570239 w 5741575"/>
              <a:gd name="connsiteY21" fmla="*/ 829596 h 955271"/>
              <a:gd name="connsiteX22" fmla="*/ 787156 w 5741575"/>
              <a:gd name="connsiteY22" fmla="*/ 838447 h 955271"/>
              <a:gd name="connsiteX23" fmla="*/ 898586 w 5741575"/>
              <a:gd name="connsiteY23" fmla="*/ 808502 h 955271"/>
              <a:gd name="connsiteX24" fmla="*/ 924063 w 5741575"/>
              <a:gd name="connsiteY24" fmla="*/ 770210 h 955271"/>
              <a:gd name="connsiteX25" fmla="*/ 1212574 w 5741575"/>
              <a:gd name="connsiteY25" fmla="*/ 724238 h 955271"/>
              <a:gd name="connsiteX26" fmla="*/ 1280768 w 5741575"/>
              <a:gd name="connsiteY26" fmla="*/ 699122 h 955271"/>
              <a:gd name="connsiteX27" fmla="*/ 1352027 w 5741575"/>
              <a:gd name="connsiteY27" fmla="*/ 704323 h 955271"/>
              <a:gd name="connsiteX28" fmla="*/ 1374314 w 5741575"/>
              <a:gd name="connsiteY28" fmla="*/ 688815 h 955271"/>
              <a:gd name="connsiteX29" fmla="*/ 1378034 w 5741575"/>
              <a:gd name="connsiteY29" fmla="*/ 685842 h 955271"/>
              <a:gd name="connsiteX30" fmla="*/ 1395604 w 5741575"/>
              <a:gd name="connsiteY30" fmla="*/ 680460 h 955271"/>
              <a:gd name="connsiteX31" fmla="*/ 1397206 w 5741575"/>
              <a:gd name="connsiteY31" fmla="*/ 670793 h 955271"/>
              <a:gd name="connsiteX32" fmla="*/ 1421250 w 5741575"/>
              <a:gd name="connsiteY32" fmla="*/ 656855 h 955271"/>
              <a:gd name="connsiteX33" fmla="*/ 1454524 w 5741575"/>
              <a:gd name="connsiteY33" fmla="*/ 649224 h 955271"/>
              <a:gd name="connsiteX34" fmla="*/ 1616217 w 5741575"/>
              <a:gd name="connsiteY34" fmla="*/ 622107 h 955271"/>
              <a:gd name="connsiteX35" fmla="*/ 1710928 w 5741575"/>
              <a:gd name="connsiteY35" fmla="*/ 600666 h 955271"/>
              <a:gd name="connsiteX36" fmla="*/ 1743718 w 5741575"/>
              <a:gd name="connsiteY36" fmla="*/ 584327 h 955271"/>
              <a:gd name="connsiteX37" fmla="*/ 1873778 w 5741575"/>
              <a:gd name="connsiteY37" fmla="*/ 530130 h 955271"/>
              <a:gd name="connsiteX38" fmla="*/ 1988411 w 5741575"/>
              <a:gd name="connsiteY38" fmla="*/ 491599 h 955271"/>
              <a:gd name="connsiteX39" fmla="*/ 2085507 w 5741575"/>
              <a:gd name="connsiteY39" fmla="*/ 498527 h 955271"/>
              <a:gd name="connsiteX40" fmla="*/ 2090767 w 5741575"/>
              <a:gd name="connsiteY40" fmla="*/ 490616 h 955271"/>
              <a:gd name="connsiteX41" fmla="*/ 2151143 w 5741575"/>
              <a:gd name="connsiteY41" fmla="*/ 478332 h 955271"/>
              <a:gd name="connsiteX42" fmla="*/ 2378710 w 5741575"/>
              <a:gd name="connsiteY42" fmla="*/ 477570 h 955271"/>
              <a:gd name="connsiteX43" fmla="*/ 2496256 w 5741575"/>
              <a:gd name="connsiteY43" fmla="*/ 452396 h 955271"/>
              <a:gd name="connsiteX44" fmla="*/ 2535387 w 5741575"/>
              <a:gd name="connsiteY44" fmla="*/ 436645 h 955271"/>
              <a:gd name="connsiteX45" fmla="*/ 2601109 w 5741575"/>
              <a:gd name="connsiteY45" fmla="*/ 410678 h 955271"/>
              <a:gd name="connsiteX46" fmla="*/ 2643855 w 5741575"/>
              <a:gd name="connsiteY46" fmla="*/ 374482 h 955271"/>
              <a:gd name="connsiteX47" fmla="*/ 2657726 w 5741575"/>
              <a:gd name="connsiteY47" fmla="*/ 365841 h 955271"/>
              <a:gd name="connsiteX48" fmla="*/ 2687125 w 5741575"/>
              <a:gd name="connsiteY48" fmla="*/ 366820 h 955271"/>
              <a:gd name="connsiteX49" fmla="*/ 2697479 w 5741575"/>
              <a:gd name="connsiteY49" fmla="*/ 361430 h 955271"/>
              <a:gd name="connsiteX50" fmla="*/ 2701547 w 5741575"/>
              <a:gd name="connsiteY50" fmla="*/ 361545 h 955271"/>
              <a:gd name="connsiteX51" fmla="*/ 2711054 w 5741575"/>
              <a:gd name="connsiteY51" fmla="*/ 360597 h 955271"/>
              <a:gd name="connsiteX52" fmla="*/ 2710438 w 5741575"/>
              <a:gd name="connsiteY52" fmla="*/ 366958 h 955271"/>
              <a:gd name="connsiteX53" fmla="*/ 2722936 w 5741575"/>
              <a:gd name="connsiteY53" fmla="*/ 377633 h 955271"/>
              <a:gd name="connsiteX54" fmla="*/ 2777227 w 5741575"/>
              <a:gd name="connsiteY54" fmla="*/ 368972 h 955271"/>
              <a:gd name="connsiteX55" fmla="*/ 2779510 w 5741575"/>
              <a:gd name="connsiteY55" fmla="*/ 361652 h 955271"/>
              <a:gd name="connsiteX56" fmla="*/ 2786278 w 5741575"/>
              <a:gd name="connsiteY56" fmla="*/ 359869 h 955271"/>
              <a:gd name="connsiteX57" fmla="*/ 2792101 w 5741575"/>
              <a:gd name="connsiteY57" fmla="*/ 365927 h 955271"/>
              <a:gd name="connsiteX58" fmla="*/ 2885545 w 5741575"/>
              <a:gd name="connsiteY58" fmla="*/ 372818 h 955271"/>
              <a:gd name="connsiteX59" fmla="*/ 3009558 w 5741575"/>
              <a:gd name="connsiteY59" fmla="*/ 370573 h 955271"/>
              <a:gd name="connsiteX60" fmla="*/ 3095010 w 5741575"/>
              <a:gd name="connsiteY60" fmla="*/ 332454 h 955271"/>
              <a:gd name="connsiteX61" fmla="*/ 3103742 w 5741575"/>
              <a:gd name="connsiteY61" fmla="*/ 337974 h 955271"/>
              <a:gd name="connsiteX62" fmla="*/ 3165093 w 5741575"/>
              <a:gd name="connsiteY62" fmla="*/ 329459 h 955271"/>
              <a:gd name="connsiteX63" fmla="*/ 3373785 w 5741575"/>
              <a:gd name="connsiteY63" fmla="*/ 255680 h 955271"/>
              <a:gd name="connsiteX64" fmla="*/ 3493851 w 5741575"/>
              <a:gd name="connsiteY64" fmla="*/ 240255 h 955271"/>
              <a:gd name="connsiteX65" fmla="*/ 3537470 w 5741575"/>
              <a:gd name="connsiteY65" fmla="*/ 241867 h 955271"/>
              <a:gd name="connsiteX66" fmla="*/ 3610489 w 5741575"/>
              <a:gd name="connsiteY66" fmla="*/ 244128 h 955271"/>
              <a:gd name="connsiteX67" fmla="*/ 3667539 w 5741575"/>
              <a:gd name="connsiteY67" fmla="*/ 263271 h 955271"/>
              <a:gd name="connsiteX68" fmla="*/ 3727614 w 5741575"/>
              <a:gd name="connsiteY68" fmla="*/ 258245 h 955271"/>
              <a:gd name="connsiteX69" fmla="*/ 3738369 w 5741575"/>
              <a:gd name="connsiteY69" fmla="*/ 234506 h 955271"/>
              <a:gd name="connsiteX70" fmla="*/ 3803670 w 5741575"/>
              <a:gd name="connsiteY70" fmla="*/ 236457 h 955271"/>
              <a:gd name="connsiteX71" fmla="*/ 3903080 w 5741575"/>
              <a:gd name="connsiteY71" fmla="*/ 241890 h 955271"/>
              <a:gd name="connsiteX72" fmla="*/ 4114838 w 5741575"/>
              <a:gd name="connsiteY72" fmla="*/ 238165 h 955271"/>
              <a:gd name="connsiteX73" fmla="*/ 4271023 w 5741575"/>
              <a:gd name="connsiteY73" fmla="*/ 241959 h 955271"/>
              <a:gd name="connsiteX74" fmla="*/ 4367397 w 5741575"/>
              <a:gd name="connsiteY74" fmla="*/ 271442 h 955271"/>
              <a:gd name="connsiteX75" fmla="*/ 4495366 w 5741575"/>
              <a:gd name="connsiteY75" fmla="*/ 271618 h 955271"/>
              <a:gd name="connsiteX76" fmla="*/ 4517347 w 5741575"/>
              <a:gd name="connsiteY76" fmla="*/ 275639 h 955271"/>
              <a:gd name="connsiteX77" fmla="*/ 4546116 w 5741575"/>
              <a:gd name="connsiteY77" fmla="*/ 268568 h 955271"/>
              <a:gd name="connsiteX78" fmla="*/ 4661259 w 5741575"/>
              <a:gd name="connsiteY78" fmla="*/ 238966 h 955271"/>
              <a:gd name="connsiteX79" fmla="*/ 4750403 w 5741575"/>
              <a:gd name="connsiteY79" fmla="*/ 204364 h 955271"/>
              <a:gd name="connsiteX80" fmla="*/ 4867614 w 5741575"/>
              <a:gd name="connsiteY80" fmla="*/ 208668 h 955271"/>
              <a:gd name="connsiteX81" fmla="*/ 4937036 w 5741575"/>
              <a:gd name="connsiteY81" fmla="*/ 195446 h 955271"/>
              <a:gd name="connsiteX82" fmla="*/ 5047626 w 5741575"/>
              <a:gd name="connsiteY82" fmla="*/ 149604 h 955271"/>
              <a:gd name="connsiteX83" fmla="*/ 5200247 w 5741575"/>
              <a:gd name="connsiteY83" fmla="*/ 142695 h 955271"/>
              <a:gd name="connsiteX84" fmla="*/ 5235691 w 5741575"/>
              <a:gd name="connsiteY84" fmla="*/ 173330 h 955271"/>
              <a:gd name="connsiteX85" fmla="*/ 5280133 w 5741575"/>
              <a:gd name="connsiteY85" fmla="*/ 189342 h 955271"/>
              <a:gd name="connsiteX86" fmla="*/ 5291963 w 5741575"/>
              <a:gd name="connsiteY86" fmla="*/ 139446 h 955271"/>
              <a:gd name="connsiteX87" fmla="*/ 5418472 w 5741575"/>
              <a:gd name="connsiteY87" fmla="*/ 89163 h 955271"/>
              <a:gd name="connsiteX88" fmla="*/ 5482354 w 5741575"/>
              <a:gd name="connsiteY88" fmla="*/ 69470 h 955271"/>
              <a:gd name="connsiteX89" fmla="*/ 5583280 w 5741575"/>
              <a:gd name="connsiteY89" fmla="*/ 49787 h 955271"/>
              <a:gd name="connsiteX90" fmla="*/ 5613766 w 5741575"/>
              <a:gd name="connsiteY90" fmla="*/ 41855 h 955271"/>
              <a:gd name="connsiteX91" fmla="*/ 5684952 w 5741575"/>
              <a:gd name="connsiteY91" fmla="*/ 26088 h 955271"/>
              <a:gd name="connsiteX92" fmla="*/ 5741575 w 5741575"/>
              <a:gd name="connsiteY92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39115 w 5741575"/>
              <a:gd name="connsiteY7" fmla="*/ 949326 h 955271"/>
              <a:gd name="connsiteX8" fmla="*/ 93851 w 5741575"/>
              <a:gd name="connsiteY8" fmla="*/ 945611 h 955271"/>
              <a:gd name="connsiteX9" fmla="*/ 148657 w 5741575"/>
              <a:gd name="connsiteY9" fmla="*/ 898134 h 955271"/>
              <a:gd name="connsiteX10" fmla="*/ 174554 w 5741575"/>
              <a:gd name="connsiteY10" fmla="*/ 886351 h 955271"/>
              <a:gd name="connsiteX11" fmla="*/ 187633 w 5741575"/>
              <a:gd name="connsiteY11" fmla="*/ 878226 h 955271"/>
              <a:gd name="connsiteX12" fmla="*/ 187961 w 5741575"/>
              <a:gd name="connsiteY12" fmla="*/ 876538 h 955271"/>
              <a:gd name="connsiteX13" fmla="*/ 240501 w 5741575"/>
              <a:gd name="connsiteY13" fmla="*/ 873150 h 955271"/>
              <a:gd name="connsiteX14" fmla="*/ 246345 w 5741575"/>
              <a:gd name="connsiteY14" fmla="*/ 869942 h 955271"/>
              <a:gd name="connsiteX15" fmla="*/ 282041 w 5741575"/>
              <a:gd name="connsiteY15" fmla="*/ 871263 h 955271"/>
              <a:gd name="connsiteX16" fmla="*/ 299711 w 5741575"/>
              <a:gd name="connsiteY16" fmla="*/ 870064 h 955271"/>
              <a:gd name="connsiteX17" fmla="*/ 306299 w 5741575"/>
              <a:gd name="connsiteY17" fmla="*/ 873609 h 955271"/>
              <a:gd name="connsiteX18" fmla="*/ 331571 w 5741575"/>
              <a:gd name="connsiteY18" fmla="*/ 869866 h 955271"/>
              <a:gd name="connsiteX19" fmla="*/ 333872 w 5741575"/>
              <a:gd name="connsiteY19" fmla="*/ 867971 h 955271"/>
              <a:gd name="connsiteX20" fmla="*/ 356953 w 5741575"/>
              <a:gd name="connsiteY20" fmla="*/ 870334 h 955271"/>
              <a:gd name="connsiteX21" fmla="*/ 570239 w 5741575"/>
              <a:gd name="connsiteY21" fmla="*/ 829596 h 955271"/>
              <a:gd name="connsiteX22" fmla="*/ 787156 w 5741575"/>
              <a:gd name="connsiteY22" fmla="*/ 838447 h 955271"/>
              <a:gd name="connsiteX23" fmla="*/ 898586 w 5741575"/>
              <a:gd name="connsiteY23" fmla="*/ 808502 h 955271"/>
              <a:gd name="connsiteX24" fmla="*/ 1212574 w 5741575"/>
              <a:gd name="connsiteY24" fmla="*/ 724238 h 955271"/>
              <a:gd name="connsiteX25" fmla="*/ 1280768 w 5741575"/>
              <a:gd name="connsiteY25" fmla="*/ 699122 h 955271"/>
              <a:gd name="connsiteX26" fmla="*/ 1352027 w 5741575"/>
              <a:gd name="connsiteY26" fmla="*/ 704323 h 955271"/>
              <a:gd name="connsiteX27" fmla="*/ 1374314 w 5741575"/>
              <a:gd name="connsiteY27" fmla="*/ 688815 h 955271"/>
              <a:gd name="connsiteX28" fmla="*/ 1378034 w 5741575"/>
              <a:gd name="connsiteY28" fmla="*/ 685842 h 955271"/>
              <a:gd name="connsiteX29" fmla="*/ 1395604 w 5741575"/>
              <a:gd name="connsiteY29" fmla="*/ 680460 h 955271"/>
              <a:gd name="connsiteX30" fmla="*/ 1397206 w 5741575"/>
              <a:gd name="connsiteY30" fmla="*/ 670793 h 955271"/>
              <a:gd name="connsiteX31" fmla="*/ 1421250 w 5741575"/>
              <a:gd name="connsiteY31" fmla="*/ 656855 h 955271"/>
              <a:gd name="connsiteX32" fmla="*/ 1454524 w 5741575"/>
              <a:gd name="connsiteY32" fmla="*/ 649224 h 955271"/>
              <a:gd name="connsiteX33" fmla="*/ 1616217 w 5741575"/>
              <a:gd name="connsiteY33" fmla="*/ 622107 h 955271"/>
              <a:gd name="connsiteX34" fmla="*/ 1710928 w 5741575"/>
              <a:gd name="connsiteY34" fmla="*/ 600666 h 955271"/>
              <a:gd name="connsiteX35" fmla="*/ 1743718 w 5741575"/>
              <a:gd name="connsiteY35" fmla="*/ 584327 h 955271"/>
              <a:gd name="connsiteX36" fmla="*/ 1873778 w 5741575"/>
              <a:gd name="connsiteY36" fmla="*/ 530130 h 955271"/>
              <a:gd name="connsiteX37" fmla="*/ 1988411 w 5741575"/>
              <a:gd name="connsiteY37" fmla="*/ 491599 h 955271"/>
              <a:gd name="connsiteX38" fmla="*/ 2085507 w 5741575"/>
              <a:gd name="connsiteY38" fmla="*/ 498527 h 955271"/>
              <a:gd name="connsiteX39" fmla="*/ 2090767 w 5741575"/>
              <a:gd name="connsiteY39" fmla="*/ 490616 h 955271"/>
              <a:gd name="connsiteX40" fmla="*/ 2151143 w 5741575"/>
              <a:gd name="connsiteY40" fmla="*/ 478332 h 955271"/>
              <a:gd name="connsiteX41" fmla="*/ 2378710 w 5741575"/>
              <a:gd name="connsiteY41" fmla="*/ 477570 h 955271"/>
              <a:gd name="connsiteX42" fmla="*/ 2496256 w 5741575"/>
              <a:gd name="connsiteY42" fmla="*/ 452396 h 955271"/>
              <a:gd name="connsiteX43" fmla="*/ 2535387 w 5741575"/>
              <a:gd name="connsiteY43" fmla="*/ 436645 h 955271"/>
              <a:gd name="connsiteX44" fmla="*/ 2601109 w 5741575"/>
              <a:gd name="connsiteY44" fmla="*/ 410678 h 955271"/>
              <a:gd name="connsiteX45" fmla="*/ 2643855 w 5741575"/>
              <a:gd name="connsiteY45" fmla="*/ 374482 h 955271"/>
              <a:gd name="connsiteX46" fmla="*/ 2657726 w 5741575"/>
              <a:gd name="connsiteY46" fmla="*/ 365841 h 955271"/>
              <a:gd name="connsiteX47" fmla="*/ 2687125 w 5741575"/>
              <a:gd name="connsiteY47" fmla="*/ 366820 h 955271"/>
              <a:gd name="connsiteX48" fmla="*/ 2697479 w 5741575"/>
              <a:gd name="connsiteY48" fmla="*/ 361430 h 955271"/>
              <a:gd name="connsiteX49" fmla="*/ 2701547 w 5741575"/>
              <a:gd name="connsiteY49" fmla="*/ 361545 h 955271"/>
              <a:gd name="connsiteX50" fmla="*/ 2711054 w 5741575"/>
              <a:gd name="connsiteY50" fmla="*/ 360597 h 955271"/>
              <a:gd name="connsiteX51" fmla="*/ 2710438 w 5741575"/>
              <a:gd name="connsiteY51" fmla="*/ 366958 h 955271"/>
              <a:gd name="connsiteX52" fmla="*/ 2722936 w 5741575"/>
              <a:gd name="connsiteY52" fmla="*/ 377633 h 955271"/>
              <a:gd name="connsiteX53" fmla="*/ 2777227 w 5741575"/>
              <a:gd name="connsiteY53" fmla="*/ 368972 h 955271"/>
              <a:gd name="connsiteX54" fmla="*/ 2779510 w 5741575"/>
              <a:gd name="connsiteY54" fmla="*/ 361652 h 955271"/>
              <a:gd name="connsiteX55" fmla="*/ 2786278 w 5741575"/>
              <a:gd name="connsiteY55" fmla="*/ 359869 h 955271"/>
              <a:gd name="connsiteX56" fmla="*/ 2792101 w 5741575"/>
              <a:gd name="connsiteY56" fmla="*/ 365927 h 955271"/>
              <a:gd name="connsiteX57" fmla="*/ 2885545 w 5741575"/>
              <a:gd name="connsiteY57" fmla="*/ 372818 h 955271"/>
              <a:gd name="connsiteX58" fmla="*/ 3009558 w 5741575"/>
              <a:gd name="connsiteY58" fmla="*/ 370573 h 955271"/>
              <a:gd name="connsiteX59" fmla="*/ 3095010 w 5741575"/>
              <a:gd name="connsiteY59" fmla="*/ 332454 h 955271"/>
              <a:gd name="connsiteX60" fmla="*/ 3103742 w 5741575"/>
              <a:gd name="connsiteY60" fmla="*/ 337974 h 955271"/>
              <a:gd name="connsiteX61" fmla="*/ 3165093 w 5741575"/>
              <a:gd name="connsiteY61" fmla="*/ 329459 h 955271"/>
              <a:gd name="connsiteX62" fmla="*/ 3373785 w 5741575"/>
              <a:gd name="connsiteY62" fmla="*/ 255680 h 955271"/>
              <a:gd name="connsiteX63" fmla="*/ 3493851 w 5741575"/>
              <a:gd name="connsiteY63" fmla="*/ 240255 h 955271"/>
              <a:gd name="connsiteX64" fmla="*/ 3537470 w 5741575"/>
              <a:gd name="connsiteY64" fmla="*/ 241867 h 955271"/>
              <a:gd name="connsiteX65" fmla="*/ 3610489 w 5741575"/>
              <a:gd name="connsiteY65" fmla="*/ 244128 h 955271"/>
              <a:gd name="connsiteX66" fmla="*/ 3667539 w 5741575"/>
              <a:gd name="connsiteY66" fmla="*/ 263271 h 955271"/>
              <a:gd name="connsiteX67" fmla="*/ 3727614 w 5741575"/>
              <a:gd name="connsiteY67" fmla="*/ 258245 h 955271"/>
              <a:gd name="connsiteX68" fmla="*/ 3738369 w 5741575"/>
              <a:gd name="connsiteY68" fmla="*/ 234506 h 955271"/>
              <a:gd name="connsiteX69" fmla="*/ 3803670 w 5741575"/>
              <a:gd name="connsiteY69" fmla="*/ 236457 h 955271"/>
              <a:gd name="connsiteX70" fmla="*/ 3903080 w 5741575"/>
              <a:gd name="connsiteY70" fmla="*/ 241890 h 955271"/>
              <a:gd name="connsiteX71" fmla="*/ 4114838 w 5741575"/>
              <a:gd name="connsiteY71" fmla="*/ 238165 h 955271"/>
              <a:gd name="connsiteX72" fmla="*/ 4271023 w 5741575"/>
              <a:gd name="connsiteY72" fmla="*/ 241959 h 955271"/>
              <a:gd name="connsiteX73" fmla="*/ 4367397 w 5741575"/>
              <a:gd name="connsiteY73" fmla="*/ 271442 h 955271"/>
              <a:gd name="connsiteX74" fmla="*/ 4495366 w 5741575"/>
              <a:gd name="connsiteY74" fmla="*/ 271618 h 955271"/>
              <a:gd name="connsiteX75" fmla="*/ 4517347 w 5741575"/>
              <a:gd name="connsiteY75" fmla="*/ 275639 h 955271"/>
              <a:gd name="connsiteX76" fmla="*/ 4546116 w 5741575"/>
              <a:gd name="connsiteY76" fmla="*/ 268568 h 955271"/>
              <a:gd name="connsiteX77" fmla="*/ 4661259 w 5741575"/>
              <a:gd name="connsiteY77" fmla="*/ 238966 h 955271"/>
              <a:gd name="connsiteX78" fmla="*/ 4750403 w 5741575"/>
              <a:gd name="connsiteY78" fmla="*/ 204364 h 955271"/>
              <a:gd name="connsiteX79" fmla="*/ 4867614 w 5741575"/>
              <a:gd name="connsiteY79" fmla="*/ 208668 h 955271"/>
              <a:gd name="connsiteX80" fmla="*/ 4937036 w 5741575"/>
              <a:gd name="connsiteY80" fmla="*/ 195446 h 955271"/>
              <a:gd name="connsiteX81" fmla="*/ 5047626 w 5741575"/>
              <a:gd name="connsiteY81" fmla="*/ 149604 h 955271"/>
              <a:gd name="connsiteX82" fmla="*/ 5200247 w 5741575"/>
              <a:gd name="connsiteY82" fmla="*/ 142695 h 955271"/>
              <a:gd name="connsiteX83" fmla="*/ 5235691 w 5741575"/>
              <a:gd name="connsiteY83" fmla="*/ 173330 h 955271"/>
              <a:gd name="connsiteX84" fmla="*/ 5280133 w 5741575"/>
              <a:gd name="connsiteY84" fmla="*/ 189342 h 955271"/>
              <a:gd name="connsiteX85" fmla="*/ 5291963 w 5741575"/>
              <a:gd name="connsiteY85" fmla="*/ 139446 h 955271"/>
              <a:gd name="connsiteX86" fmla="*/ 5418472 w 5741575"/>
              <a:gd name="connsiteY86" fmla="*/ 89163 h 955271"/>
              <a:gd name="connsiteX87" fmla="*/ 5482354 w 5741575"/>
              <a:gd name="connsiteY87" fmla="*/ 69470 h 955271"/>
              <a:gd name="connsiteX88" fmla="*/ 5583280 w 5741575"/>
              <a:gd name="connsiteY88" fmla="*/ 49787 h 955271"/>
              <a:gd name="connsiteX89" fmla="*/ 5613766 w 5741575"/>
              <a:gd name="connsiteY89" fmla="*/ 41855 h 955271"/>
              <a:gd name="connsiteX90" fmla="*/ 5684952 w 5741575"/>
              <a:gd name="connsiteY90" fmla="*/ 26088 h 955271"/>
              <a:gd name="connsiteX91" fmla="*/ 5741575 w 5741575"/>
              <a:gd name="connsiteY91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39115 w 5741575"/>
              <a:gd name="connsiteY7" fmla="*/ 949326 h 955271"/>
              <a:gd name="connsiteX8" fmla="*/ 93851 w 5741575"/>
              <a:gd name="connsiteY8" fmla="*/ 945611 h 955271"/>
              <a:gd name="connsiteX9" fmla="*/ 148657 w 5741575"/>
              <a:gd name="connsiteY9" fmla="*/ 898134 h 955271"/>
              <a:gd name="connsiteX10" fmla="*/ 174554 w 5741575"/>
              <a:gd name="connsiteY10" fmla="*/ 886351 h 955271"/>
              <a:gd name="connsiteX11" fmla="*/ 187633 w 5741575"/>
              <a:gd name="connsiteY11" fmla="*/ 878226 h 955271"/>
              <a:gd name="connsiteX12" fmla="*/ 187961 w 5741575"/>
              <a:gd name="connsiteY12" fmla="*/ 876538 h 955271"/>
              <a:gd name="connsiteX13" fmla="*/ 240501 w 5741575"/>
              <a:gd name="connsiteY13" fmla="*/ 873150 h 955271"/>
              <a:gd name="connsiteX14" fmla="*/ 246345 w 5741575"/>
              <a:gd name="connsiteY14" fmla="*/ 869942 h 955271"/>
              <a:gd name="connsiteX15" fmla="*/ 282041 w 5741575"/>
              <a:gd name="connsiteY15" fmla="*/ 871263 h 955271"/>
              <a:gd name="connsiteX16" fmla="*/ 299711 w 5741575"/>
              <a:gd name="connsiteY16" fmla="*/ 870064 h 955271"/>
              <a:gd name="connsiteX17" fmla="*/ 306299 w 5741575"/>
              <a:gd name="connsiteY17" fmla="*/ 873609 h 955271"/>
              <a:gd name="connsiteX18" fmla="*/ 331571 w 5741575"/>
              <a:gd name="connsiteY18" fmla="*/ 869866 h 955271"/>
              <a:gd name="connsiteX19" fmla="*/ 333872 w 5741575"/>
              <a:gd name="connsiteY19" fmla="*/ 867971 h 955271"/>
              <a:gd name="connsiteX20" fmla="*/ 356953 w 5741575"/>
              <a:gd name="connsiteY20" fmla="*/ 870334 h 955271"/>
              <a:gd name="connsiteX21" fmla="*/ 570239 w 5741575"/>
              <a:gd name="connsiteY21" fmla="*/ 829596 h 955271"/>
              <a:gd name="connsiteX22" fmla="*/ 787156 w 5741575"/>
              <a:gd name="connsiteY22" fmla="*/ 838447 h 955271"/>
              <a:gd name="connsiteX23" fmla="*/ 948872 w 5741575"/>
              <a:gd name="connsiteY23" fmla="*/ 772201 h 955271"/>
              <a:gd name="connsiteX24" fmla="*/ 1212574 w 5741575"/>
              <a:gd name="connsiteY24" fmla="*/ 724238 h 955271"/>
              <a:gd name="connsiteX25" fmla="*/ 1280768 w 5741575"/>
              <a:gd name="connsiteY25" fmla="*/ 699122 h 955271"/>
              <a:gd name="connsiteX26" fmla="*/ 1352027 w 5741575"/>
              <a:gd name="connsiteY26" fmla="*/ 704323 h 955271"/>
              <a:gd name="connsiteX27" fmla="*/ 1374314 w 5741575"/>
              <a:gd name="connsiteY27" fmla="*/ 688815 h 955271"/>
              <a:gd name="connsiteX28" fmla="*/ 1378034 w 5741575"/>
              <a:gd name="connsiteY28" fmla="*/ 685842 h 955271"/>
              <a:gd name="connsiteX29" fmla="*/ 1395604 w 5741575"/>
              <a:gd name="connsiteY29" fmla="*/ 680460 h 955271"/>
              <a:gd name="connsiteX30" fmla="*/ 1397206 w 5741575"/>
              <a:gd name="connsiteY30" fmla="*/ 670793 h 955271"/>
              <a:gd name="connsiteX31" fmla="*/ 1421250 w 5741575"/>
              <a:gd name="connsiteY31" fmla="*/ 656855 h 955271"/>
              <a:gd name="connsiteX32" fmla="*/ 1454524 w 5741575"/>
              <a:gd name="connsiteY32" fmla="*/ 649224 h 955271"/>
              <a:gd name="connsiteX33" fmla="*/ 1616217 w 5741575"/>
              <a:gd name="connsiteY33" fmla="*/ 622107 h 955271"/>
              <a:gd name="connsiteX34" fmla="*/ 1710928 w 5741575"/>
              <a:gd name="connsiteY34" fmla="*/ 600666 h 955271"/>
              <a:gd name="connsiteX35" fmla="*/ 1743718 w 5741575"/>
              <a:gd name="connsiteY35" fmla="*/ 584327 h 955271"/>
              <a:gd name="connsiteX36" fmla="*/ 1873778 w 5741575"/>
              <a:gd name="connsiteY36" fmla="*/ 530130 h 955271"/>
              <a:gd name="connsiteX37" fmla="*/ 1988411 w 5741575"/>
              <a:gd name="connsiteY37" fmla="*/ 491599 h 955271"/>
              <a:gd name="connsiteX38" fmla="*/ 2085507 w 5741575"/>
              <a:gd name="connsiteY38" fmla="*/ 498527 h 955271"/>
              <a:gd name="connsiteX39" fmla="*/ 2090767 w 5741575"/>
              <a:gd name="connsiteY39" fmla="*/ 490616 h 955271"/>
              <a:gd name="connsiteX40" fmla="*/ 2151143 w 5741575"/>
              <a:gd name="connsiteY40" fmla="*/ 478332 h 955271"/>
              <a:gd name="connsiteX41" fmla="*/ 2378710 w 5741575"/>
              <a:gd name="connsiteY41" fmla="*/ 477570 h 955271"/>
              <a:gd name="connsiteX42" fmla="*/ 2496256 w 5741575"/>
              <a:gd name="connsiteY42" fmla="*/ 452396 h 955271"/>
              <a:gd name="connsiteX43" fmla="*/ 2535387 w 5741575"/>
              <a:gd name="connsiteY43" fmla="*/ 436645 h 955271"/>
              <a:gd name="connsiteX44" fmla="*/ 2601109 w 5741575"/>
              <a:gd name="connsiteY44" fmla="*/ 410678 h 955271"/>
              <a:gd name="connsiteX45" fmla="*/ 2643855 w 5741575"/>
              <a:gd name="connsiteY45" fmla="*/ 374482 h 955271"/>
              <a:gd name="connsiteX46" fmla="*/ 2657726 w 5741575"/>
              <a:gd name="connsiteY46" fmla="*/ 365841 h 955271"/>
              <a:gd name="connsiteX47" fmla="*/ 2687125 w 5741575"/>
              <a:gd name="connsiteY47" fmla="*/ 366820 h 955271"/>
              <a:gd name="connsiteX48" fmla="*/ 2697479 w 5741575"/>
              <a:gd name="connsiteY48" fmla="*/ 361430 h 955271"/>
              <a:gd name="connsiteX49" fmla="*/ 2701547 w 5741575"/>
              <a:gd name="connsiteY49" fmla="*/ 361545 h 955271"/>
              <a:gd name="connsiteX50" fmla="*/ 2711054 w 5741575"/>
              <a:gd name="connsiteY50" fmla="*/ 360597 h 955271"/>
              <a:gd name="connsiteX51" fmla="*/ 2710438 w 5741575"/>
              <a:gd name="connsiteY51" fmla="*/ 366958 h 955271"/>
              <a:gd name="connsiteX52" fmla="*/ 2722936 w 5741575"/>
              <a:gd name="connsiteY52" fmla="*/ 377633 h 955271"/>
              <a:gd name="connsiteX53" fmla="*/ 2777227 w 5741575"/>
              <a:gd name="connsiteY53" fmla="*/ 368972 h 955271"/>
              <a:gd name="connsiteX54" fmla="*/ 2779510 w 5741575"/>
              <a:gd name="connsiteY54" fmla="*/ 361652 h 955271"/>
              <a:gd name="connsiteX55" fmla="*/ 2786278 w 5741575"/>
              <a:gd name="connsiteY55" fmla="*/ 359869 h 955271"/>
              <a:gd name="connsiteX56" fmla="*/ 2792101 w 5741575"/>
              <a:gd name="connsiteY56" fmla="*/ 365927 h 955271"/>
              <a:gd name="connsiteX57" fmla="*/ 2885545 w 5741575"/>
              <a:gd name="connsiteY57" fmla="*/ 372818 h 955271"/>
              <a:gd name="connsiteX58" fmla="*/ 3009558 w 5741575"/>
              <a:gd name="connsiteY58" fmla="*/ 370573 h 955271"/>
              <a:gd name="connsiteX59" fmla="*/ 3095010 w 5741575"/>
              <a:gd name="connsiteY59" fmla="*/ 332454 h 955271"/>
              <a:gd name="connsiteX60" fmla="*/ 3103742 w 5741575"/>
              <a:gd name="connsiteY60" fmla="*/ 337974 h 955271"/>
              <a:gd name="connsiteX61" fmla="*/ 3165093 w 5741575"/>
              <a:gd name="connsiteY61" fmla="*/ 329459 h 955271"/>
              <a:gd name="connsiteX62" fmla="*/ 3373785 w 5741575"/>
              <a:gd name="connsiteY62" fmla="*/ 255680 h 955271"/>
              <a:gd name="connsiteX63" fmla="*/ 3493851 w 5741575"/>
              <a:gd name="connsiteY63" fmla="*/ 240255 h 955271"/>
              <a:gd name="connsiteX64" fmla="*/ 3537470 w 5741575"/>
              <a:gd name="connsiteY64" fmla="*/ 241867 h 955271"/>
              <a:gd name="connsiteX65" fmla="*/ 3610489 w 5741575"/>
              <a:gd name="connsiteY65" fmla="*/ 244128 h 955271"/>
              <a:gd name="connsiteX66" fmla="*/ 3667539 w 5741575"/>
              <a:gd name="connsiteY66" fmla="*/ 263271 h 955271"/>
              <a:gd name="connsiteX67" fmla="*/ 3727614 w 5741575"/>
              <a:gd name="connsiteY67" fmla="*/ 258245 h 955271"/>
              <a:gd name="connsiteX68" fmla="*/ 3738369 w 5741575"/>
              <a:gd name="connsiteY68" fmla="*/ 234506 h 955271"/>
              <a:gd name="connsiteX69" fmla="*/ 3803670 w 5741575"/>
              <a:gd name="connsiteY69" fmla="*/ 236457 h 955271"/>
              <a:gd name="connsiteX70" fmla="*/ 3903080 w 5741575"/>
              <a:gd name="connsiteY70" fmla="*/ 241890 h 955271"/>
              <a:gd name="connsiteX71" fmla="*/ 4114838 w 5741575"/>
              <a:gd name="connsiteY71" fmla="*/ 238165 h 955271"/>
              <a:gd name="connsiteX72" fmla="*/ 4271023 w 5741575"/>
              <a:gd name="connsiteY72" fmla="*/ 241959 h 955271"/>
              <a:gd name="connsiteX73" fmla="*/ 4367397 w 5741575"/>
              <a:gd name="connsiteY73" fmla="*/ 271442 h 955271"/>
              <a:gd name="connsiteX74" fmla="*/ 4495366 w 5741575"/>
              <a:gd name="connsiteY74" fmla="*/ 271618 h 955271"/>
              <a:gd name="connsiteX75" fmla="*/ 4517347 w 5741575"/>
              <a:gd name="connsiteY75" fmla="*/ 275639 h 955271"/>
              <a:gd name="connsiteX76" fmla="*/ 4546116 w 5741575"/>
              <a:gd name="connsiteY76" fmla="*/ 268568 h 955271"/>
              <a:gd name="connsiteX77" fmla="*/ 4661259 w 5741575"/>
              <a:gd name="connsiteY77" fmla="*/ 238966 h 955271"/>
              <a:gd name="connsiteX78" fmla="*/ 4750403 w 5741575"/>
              <a:gd name="connsiteY78" fmla="*/ 204364 h 955271"/>
              <a:gd name="connsiteX79" fmla="*/ 4867614 w 5741575"/>
              <a:gd name="connsiteY79" fmla="*/ 208668 h 955271"/>
              <a:gd name="connsiteX80" fmla="*/ 4937036 w 5741575"/>
              <a:gd name="connsiteY80" fmla="*/ 195446 h 955271"/>
              <a:gd name="connsiteX81" fmla="*/ 5047626 w 5741575"/>
              <a:gd name="connsiteY81" fmla="*/ 149604 h 955271"/>
              <a:gd name="connsiteX82" fmla="*/ 5200247 w 5741575"/>
              <a:gd name="connsiteY82" fmla="*/ 142695 h 955271"/>
              <a:gd name="connsiteX83" fmla="*/ 5235691 w 5741575"/>
              <a:gd name="connsiteY83" fmla="*/ 173330 h 955271"/>
              <a:gd name="connsiteX84" fmla="*/ 5280133 w 5741575"/>
              <a:gd name="connsiteY84" fmla="*/ 189342 h 955271"/>
              <a:gd name="connsiteX85" fmla="*/ 5291963 w 5741575"/>
              <a:gd name="connsiteY85" fmla="*/ 139446 h 955271"/>
              <a:gd name="connsiteX86" fmla="*/ 5418472 w 5741575"/>
              <a:gd name="connsiteY86" fmla="*/ 89163 h 955271"/>
              <a:gd name="connsiteX87" fmla="*/ 5482354 w 5741575"/>
              <a:gd name="connsiteY87" fmla="*/ 69470 h 955271"/>
              <a:gd name="connsiteX88" fmla="*/ 5583280 w 5741575"/>
              <a:gd name="connsiteY88" fmla="*/ 49787 h 955271"/>
              <a:gd name="connsiteX89" fmla="*/ 5613766 w 5741575"/>
              <a:gd name="connsiteY89" fmla="*/ 41855 h 955271"/>
              <a:gd name="connsiteX90" fmla="*/ 5684952 w 5741575"/>
              <a:gd name="connsiteY90" fmla="*/ 26088 h 955271"/>
              <a:gd name="connsiteX91" fmla="*/ 5741575 w 5741575"/>
              <a:gd name="connsiteY91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39115 w 5741575"/>
              <a:gd name="connsiteY7" fmla="*/ 949326 h 955271"/>
              <a:gd name="connsiteX8" fmla="*/ 93851 w 5741575"/>
              <a:gd name="connsiteY8" fmla="*/ 945611 h 955271"/>
              <a:gd name="connsiteX9" fmla="*/ 148657 w 5741575"/>
              <a:gd name="connsiteY9" fmla="*/ 898134 h 955271"/>
              <a:gd name="connsiteX10" fmla="*/ 174554 w 5741575"/>
              <a:gd name="connsiteY10" fmla="*/ 886351 h 955271"/>
              <a:gd name="connsiteX11" fmla="*/ 187633 w 5741575"/>
              <a:gd name="connsiteY11" fmla="*/ 878226 h 955271"/>
              <a:gd name="connsiteX12" fmla="*/ 187961 w 5741575"/>
              <a:gd name="connsiteY12" fmla="*/ 876538 h 955271"/>
              <a:gd name="connsiteX13" fmla="*/ 240501 w 5741575"/>
              <a:gd name="connsiteY13" fmla="*/ 873150 h 955271"/>
              <a:gd name="connsiteX14" fmla="*/ 246345 w 5741575"/>
              <a:gd name="connsiteY14" fmla="*/ 869942 h 955271"/>
              <a:gd name="connsiteX15" fmla="*/ 282041 w 5741575"/>
              <a:gd name="connsiteY15" fmla="*/ 871263 h 955271"/>
              <a:gd name="connsiteX16" fmla="*/ 299711 w 5741575"/>
              <a:gd name="connsiteY16" fmla="*/ 870064 h 955271"/>
              <a:gd name="connsiteX17" fmla="*/ 306299 w 5741575"/>
              <a:gd name="connsiteY17" fmla="*/ 873609 h 955271"/>
              <a:gd name="connsiteX18" fmla="*/ 331571 w 5741575"/>
              <a:gd name="connsiteY18" fmla="*/ 869866 h 955271"/>
              <a:gd name="connsiteX19" fmla="*/ 333872 w 5741575"/>
              <a:gd name="connsiteY19" fmla="*/ 867971 h 955271"/>
              <a:gd name="connsiteX20" fmla="*/ 356953 w 5741575"/>
              <a:gd name="connsiteY20" fmla="*/ 870334 h 955271"/>
              <a:gd name="connsiteX21" fmla="*/ 570239 w 5741575"/>
              <a:gd name="connsiteY21" fmla="*/ 829596 h 955271"/>
              <a:gd name="connsiteX22" fmla="*/ 787156 w 5741575"/>
              <a:gd name="connsiteY22" fmla="*/ 838447 h 955271"/>
              <a:gd name="connsiteX23" fmla="*/ 948872 w 5741575"/>
              <a:gd name="connsiteY23" fmla="*/ 772201 h 955271"/>
              <a:gd name="connsiteX24" fmla="*/ 1212574 w 5741575"/>
              <a:gd name="connsiteY24" fmla="*/ 724238 h 955271"/>
              <a:gd name="connsiteX25" fmla="*/ 1280768 w 5741575"/>
              <a:gd name="connsiteY25" fmla="*/ 699122 h 955271"/>
              <a:gd name="connsiteX26" fmla="*/ 1352027 w 5741575"/>
              <a:gd name="connsiteY26" fmla="*/ 704323 h 955271"/>
              <a:gd name="connsiteX27" fmla="*/ 1374314 w 5741575"/>
              <a:gd name="connsiteY27" fmla="*/ 688815 h 955271"/>
              <a:gd name="connsiteX28" fmla="*/ 1378034 w 5741575"/>
              <a:gd name="connsiteY28" fmla="*/ 685842 h 955271"/>
              <a:gd name="connsiteX29" fmla="*/ 1395604 w 5741575"/>
              <a:gd name="connsiteY29" fmla="*/ 680460 h 955271"/>
              <a:gd name="connsiteX30" fmla="*/ 1397206 w 5741575"/>
              <a:gd name="connsiteY30" fmla="*/ 670793 h 955271"/>
              <a:gd name="connsiteX31" fmla="*/ 1421250 w 5741575"/>
              <a:gd name="connsiteY31" fmla="*/ 656855 h 955271"/>
              <a:gd name="connsiteX32" fmla="*/ 1454524 w 5741575"/>
              <a:gd name="connsiteY32" fmla="*/ 649224 h 955271"/>
              <a:gd name="connsiteX33" fmla="*/ 1616217 w 5741575"/>
              <a:gd name="connsiteY33" fmla="*/ 622107 h 955271"/>
              <a:gd name="connsiteX34" fmla="*/ 1710928 w 5741575"/>
              <a:gd name="connsiteY34" fmla="*/ 600666 h 955271"/>
              <a:gd name="connsiteX35" fmla="*/ 1743718 w 5741575"/>
              <a:gd name="connsiteY35" fmla="*/ 584327 h 955271"/>
              <a:gd name="connsiteX36" fmla="*/ 1873778 w 5741575"/>
              <a:gd name="connsiteY36" fmla="*/ 530130 h 955271"/>
              <a:gd name="connsiteX37" fmla="*/ 1988411 w 5741575"/>
              <a:gd name="connsiteY37" fmla="*/ 491599 h 955271"/>
              <a:gd name="connsiteX38" fmla="*/ 2085507 w 5741575"/>
              <a:gd name="connsiteY38" fmla="*/ 498527 h 955271"/>
              <a:gd name="connsiteX39" fmla="*/ 2090767 w 5741575"/>
              <a:gd name="connsiteY39" fmla="*/ 490616 h 955271"/>
              <a:gd name="connsiteX40" fmla="*/ 2151143 w 5741575"/>
              <a:gd name="connsiteY40" fmla="*/ 478332 h 955271"/>
              <a:gd name="connsiteX41" fmla="*/ 2378710 w 5741575"/>
              <a:gd name="connsiteY41" fmla="*/ 477570 h 955271"/>
              <a:gd name="connsiteX42" fmla="*/ 2496256 w 5741575"/>
              <a:gd name="connsiteY42" fmla="*/ 452396 h 955271"/>
              <a:gd name="connsiteX43" fmla="*/ 2535387 w 5741575"/>
              <a:gd name="connsiteY43" fmla="*/ 436645 h 955271"/>
              <a:gd name="connsiteX44" fmla="*/ 2601109 w 5741575"/>
              <a:gd name="connsiteY44" fmla="*/ 410678 h 955271"/>
              <a:gd name="connsiteX45" fmla="*/ 2643855 w 5741575"/>
              <a:gd name="connsiteY45" fmla="*/ 374482 h 955271"/>
              <a:gd name="connsiteX46" fmla="*/ 2657726 w 5741575"/>
              <a:gd name="connsiteY46" fmla="*/ 365841 h 955271"/>
              <a:gd name="connsiteX47" fmla="*/ 2687125 w 5741575"/>
              <a:gd name="connsiteY47" fmla="*/ 366820 h 955271"/>
              <a:gd name="connsiteX48" fmla="*/ 2697479 w 5741575"/>
              <a:gd name="connsiteY48" fmla="*/ 361430 h 955271"/>
              <a:gd name="connsiteX49" fmla="*/ 2701547 w 5741575"/>
              <a:gd name="connsiteY49" fmla="*/ 361545 h 955271"/>
              <a:gd name="connsiteX50" fmla="*/ 2711054 w 5741575"/>
              <a:gd name="connsiteY50" fmla="*/ 360597 h 955271"/>
              <a:gd name="connsiteX51" fmla="*/ 2710438 w 5741575"/>
              <a:gd name="connsiteY51" fmla="*/ 366958 h 955271"/>
              <a:gd name="connsiteX52" fmla="*/ 2722936 w 5741575"/>
              <a:gd name="connsiteY52" fmla="*/ 377633 h 955271"/>
              <a:gd name="connsiteX53" fmla="*/ 2777227 w 5741575"/>
              <a:gd name="connsiteY53" fmla="*/ 368972 h 955271"/>
              <a:gd name="connsiteX54" fmla="*/ 2779510 w 5741575"/>
              <a:gd name="connsiteY54" fmla="*/ 361652 h 955271"/>
              <a:gd name="connsiteX55" fmla="*/ 2786278 w 5741575"/>
              <a:gd name="connsiteY55" fmla="*/ 359869 h 955271"/>
              <a:gd name="connsiteX56" fmla="*/ 2792101 w 5741575"/>
              <a:gd name="connsiteY56" fmla="*/ 365927 h 955271"/>
              <a:gd name="connsiteX57" fmla="*/ 2885545 w 5741575"/>
              <a:gd name="connsiteY57" fmla="*/ 372818 h 955271"/>
              <a:gd name="connsiteX58" fmla="*/ 3009558 w 5741575"/>
              <a:gd name="connsiteY58" fmla="*/ 370573 h 955271"/>
              <a:gd name="connsiteX59" fmla="*/ 3095010 w 5741575"/>
              <a:gd name="connsiteY59" fmla="*/ 332454 h 955271"/>
              <a:gd name="connsiteX60" fmla="*/ 3103742 w 5741575"/>
              <a:gd name="connsiteY60" fmla="*/ 337974 h 955271"/>
              <a:gd name="connsiteX61" fmla="*/ 3165093 w 5741575"/>
              <a:gd name="connsiteY61" fmla="*/ 329459 h 955271"/>
              <a:gd name="connsiteX62" fmla="*/ 3373785 w 5741575"/>
              <a:gd name="connsiteY62" fmla="*/ 255680 h 955271"/>
              <a:gd name="connsiteX63" fmla="*/ 3493851 w 5741575"/>
              <a:gd name="connsiteY63" fmla="*/ 240255 h 955271"/>
              <a:gd name="connsiteX64" fmla="*/ 3537470 w 5741575"/>
              <a:gd name="connsiteY64" fmla="*/ 241867 h 955271"/>
              <a:gd name="connsiteX65" fmla="*/ 3610489 w 5741575"/>
              <a:gd name="connsiteY65" fmla="*/ 244128 h 955271"/>
              <a:gd name="connsiteX66" fmla="*/ 3667539 w 5741575"/>
              <a:gd name="connsiteY66" fmla="*/ 263271 h 955271"/>
              <a:gd name="connsiteX67" fmla="*/ 3727614 w 5741575"/>
              <a:gd name="connsiteY67" fmla="*/ 258245 h 955271"/>
              <a:gd name="connsiteX68" fmla="*/ 3738369 w 5741575"/>
              <a:gd name="connsiteY68" fmla="*/ 234506 h 955271"/>
              <a:gd name="connsiteX69" fmla="*/ 3803670 w 5741575"/>
              <a:gd name="connsiteY69" fmla="*/ 236457 h 955271"/>
              <a:gd name="connsiteX70" fmla="*/ 3903080 w 5741575"/>
              <a:gd name="connsiteY70" fmla="*/ 241890 h 955271"/>
              <a:gd name="connsiteX71" fmla="*/ 4114838 w 5741575"/>
              <a:gd name="connsiteY71" fmla="*/ 238165 h 955271"/>
              <a:gd name="connsiteX72" fmla="*/ 4271023 w 5741575"/>
              <a:gd name="connsiteY72" fmla="*/ 241959 h 955271"/>
              <a:gd name="connsiteX73" fmla="*/ 4367397 w 5741575"/>
              <a:gd name="connsiteY73" fmla="*/ 271442 h 955271"/>
              <a:gd name="connsiteX74" fmla="*/ 4495366 w 5741575"/>
              <a:gd name="connsiteY74" fmla="*/ 271618 h 955271"/>
              <a:gd name="connsiteX75" fmla="*/ 4517347 w 5741575"/>
              <a:gd name="connsiteY75" fmla="*/ 275639 h 955271"/>
              <a:gd name="connsiteX76" fmla="*/ 4546116 w 5741575"/>
              <a:gd name="connsiteY76" fmla="*/ 268568 h 955271"/>
              <a:gd name="connsiteX77" fmla="*/ 4661259 w 5741575"/>
              <a:gd name="connsiteY77" fmla="*/ 238966 h 955271"/>
              <a:gd name="connsiteX78" fmla="*/ 4750403 w 5741575"/>
              <a:gd name="connsiteY78" fmla="*/ 204364 h 955271"/>
              <a:gd name="connsiteX79" fmla="*/ 4867614 w 5741575"/>
              <a:gd name="connsiteY79" fmla="*/ 208668 h 955271"/>
              <a:gd name="connsiteX80" fmla="*/ 4937036 w 5741575"/>
              <a:gd name="connsiteY80" fmla="*/ 195446 h 955271"/>
              <a:gd name="connsiteX81" fmla="*/ 5047626 w 5741575"/>
              <a:gd name="connsiteY81" fmla="*/ 149604 h 955271"/>
              <a:gd name="connsiteX82" fmla="*/ 5200247 w 5741575"/>
              <a:gd name="connsiteY82" fmla="*/ 142695 h 955271"/>
              <a:gd name="connsiteX83" fmla="*/ 5235691 w 5741575"/>
              <a:gd name="connsiteY83" fmla="*/ 173330 h 955271"/>
              <a:gd name="connsiteX84" fmla="*/ 5280133 w 5741575"/>
              <a:gd name="connsiteY84" fmla="*/ 189342 h 955271"/>
              <a:gd name="connsiteX85" fmla="*/ 5291963 w 5741575"/>
              <a:gd name="connsiteY85" fmla="*/ 139446 h 955271"/>
              <a:gd name="connsiteX86" fmla="*/ 5418472 w 5741575"/>
              <a:gd name="connsiteY86" fmla="*/ 89163 h 955271"/>
              <a:gd name="connsiteX87" fmla="*/ 5482354 w 5741575"/>
              <a:gd name="connsiteY87" fmla="*/ 69470 h 955271"/>
              <a:gd name="connsiteX88" fmla="*/ 5583280 w 5741575"/>
              <a:gd name="connsiteY88" fmla="*/ 49787 h 955271"/>
              <a:gd name="connsiteX89" fmla="*/ 5613766 w 5741575"/>
              <a:gd name="connsiteY89" fmla="*/ 41855 h 955271"/>
              <a:gd name="connsiteX90" fmla="*/ 5684952 w 5741575"/>
              <a:gd name="connsiteY90" fmla="*/ 26088 h 955271"/>
              <a:gd name="connsiteX91" fmla="*/ 5741575 w 5741575"/>
              <a:gd name="connsiteY91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39115 w 5741575"/>
              <a:gd name="connsiteY7" fmla="*/ 949326 h 955271"/>
              <a:gd name="connsiteX8" fmla="*/ 93851 w 5741575"/>
              <a:gd name="connsiteY8" fmla="*/ 945611 h 955271"/>
              <a:gd name="connsiteX9" fmla="*/ 148657 w 5741575"/>
              <a:gd name="connsiteY9" fmla="*/ 898134 h 955271"/>
              <a:gd name="connsiteX10" fmla="*/ 174554 w 5741575"/>
              <a:gd name="connsiteY10" fmla="*/ 886351 h 955271"/>
              <a:gd name="connsiteX11" fmla="*/ 187633 w 5741575"/>
              <a:gd name="connsiteY11" fmla="*/ 878226 h 955271"/>
              <a:gd name="connsiteX12" fmla="*/ 187961 w 5741575"/>
              <a:gd name="connsiteY12" fmla="*/ 876538 h 955271"/>
              <a:gd name="connsiteX13" fmla="*/ 240501 w 5741575"/>
              <a:gd name="connsiteY13" fmla="*/ 873150 h 955271"/>
              <a:gd name="connsiteX14" fmla="*/ 246345 w 5741575"/>
              <a:gd name="connsiteY14" fmla="*/ 869942 h 955271"/>
              <a:gd name="connsiteX15" fmla="*/ 282041 w 5741575"/>
              <a:gd name="connsiteY15" fmla="*/ 871263 h 955271"/>
              <a:gd name="connsiteX16" fmla="*/ 299711 w 5741575"/>
              <a:gd name="connsiteY16" fmla="*/ 870064 h 955271"/>
              <a:gd name="connsiteX17" fmla="*/ 306299 w 5741575"/>
              <a:gd name="connsiteY17" fmla="*/ 873609 h 955271"/>
              <a:gd name="connsiteX18" fmla="*/ 331571 w 5741575"/>
              <a:gd name="connsiteY18" fmla="*/ 869866 h 955271"/>
              <a:gd name="connsiteX19" fmla="*/ 333872 w 5741575"/>
              <a:gd name="connsiteY19" fmla="*/ 867971 h 955271"/>
              <a:gd name="connsiteX20" fmla="*/ 356953 w 5741575"/>
              <a:gd name="connsiteY20" fmla="*/ 870334 h 955271"/>
              <a:gd name="connsiteX21" fmla="*/ 570239 w 5741575"/>
              <a:gd name="connsiteY21" fmla="*/ 829596 h 955271"/>
              <a:gd name="connsiteX22" fmla="*/ 787156 w 5741575"/>
              <a:gd name="connsiteY22" fmla="*/ 838447 h 955271"/>
              <a:gd name="connsiteX23" fmla="*/ 948872 w 5741575"/>
              <a:gd name="connsiteY23" fmla="*/ 772201 h 955271"/>
              <a:gd name="connsiteX24" fmla="*/ 1212574 w 5741575"/>
              <a:gd name="connsiteY24" fmla="*/ 724238 h 955271"/>
              <a:gd name="connsiteX25" fmla="*/ 1280768 w 5741575"/>
              <a:gd name="connsiteY25" fmla="*/ 699122 h 955271"/>
              <a:gd name="connsiteX26" fmla="*/ 1352027 w 5741575"/>
              <a:gd name="connsiteY26" fmla="*/ 704323 h 955271"/>
              <a:gd name="connsiteX27" fmla="*/ 1374314 w 5741575"/>
              <a:gd name="connsiteY27" fmla="*/ 688815 h 955271"/>
              <a:gd name="connsiteX28" fmla="*/ 1378034 w 5741575"/>
              <a:gd name="connsiteY28" fmla="*/ 685842 h 955271"/>
              <a:gd name="connsiteX29" fmla="*/ 1395604 w 5741575"/>
              <a:gd name="connsiteY29" fmla="*/ 680460 h 955271"/>
              <a:gd name="connsiteX30" fmla="*/ 1397206 w 5741575"/>
              <a:gd name="connsiteY30" fmla="*/ 670793 h 955271"/>
              <a:gd name="connsiteX31" fmla="*/ 1421250 w 5741575"/>
              <a:gd name="connsiteY31" fmla="*/ 656855 h 955271"/>
              <a:gd name="connsiteX32" fmla="*/ 1454524 w 5741575"/>
              <a:gd name="connsiteY32" fmla="*/ 649224 h 955271"/>
              <a:gd name="connsiteX33" fmla="*/ 1616217 w 5741575"/>
              <a:gd name="connsiteY33" fmla="*/ 622107 h 955271"/>
              <a:gd name="connsiteX34" fmla="*/ 1710928 w 5741575"/>
              <a:gd name="connsiteY34" fmla="*/ 600666 h 955271"/>
              <a:gd name="connsiteX35" fmla="*/ 1743718 w 5741575"/>
              <a:gd name="connsiteY35" fmla="*/ 584327 h 955271"/>
              <a:gd name="connsiteX36" fmla="*/ 1873778 w 5741575"/>
              <a:gd name="connsiteY36" fmla="*/ 530130 h 955271"/>
              <a:gd name="connsiteX37" fmla="*/ 1988411 w 5741575"/>
              <a:gd name="connsiteY37" fmla="*/ 491599 h 955271"/>
              <a:gd name="connsiteX38" fmla="*/ 2085507 w 5741575"/>
              <a:gd name="connsiteY38" fmla="*/ 498527 h 955271"/>
              <a:gd name="connsiteX39" fmla="*/ 2090767 w 5741575"/>
              <a:gd name="connsiteY39" fmla="*/ 490616 h 955271"/>
              <a:gd name="connsiteX40" fmla="*/ 2151143 w 5741575"/>
              <a:gd name="connsiteY40" fmla="*/ 478332 h 955271"/>
              <a:gd name="connsiteX41" fmla="*/ 2378710 w 5741575"/>
              <a:gd name="connsiteY41" fmla="*/ 477570 h 955271"/>
              <a:gd name="connsiteX42" fmla="*/ 2496256 w 5741575"/>
              <a:gd name="connsiteY42" fmla="*/ 452396 h 955271"/>
              <a:gd name="connsiteX43" fmla="*/ 2535387 w 5741575"/>
              <a:gd name="connsiteY43" fmla="*/ 436645 h 955271"/>
              <a:gd name="connsiteX44" fmla="*/ 2601109 w 5741575"/>
              <a:gd name="connsiteY44" fmla="*/ 410678 h 955271"/>
              <a:gd name="connsiteX45" fmla="*/ 2643855 w 5741575"/>
              <a:gd name="connsiteY45" fmla="*/ 374482 h 955271"/>
              <a:gd name="connsiteX46" fmla="*/ 2657726 w 5741575"/>
              <a:gd name="connsiteY46" fmla="*/ 365841 h 955271"/>
              <a:gd name="connsiteX47" fmla="*/ 2687125 w 5741575"/>
              <a:gd name="connsiteY47" fmla="*/ 366820 h 955271"/>
              <a:gd name="connsiteX48" fmla="*/ 2697479 w 5741575"/>
              <a:gd name="connsiteY48" fmla="*/ 361430 h 955271"/>
              <a:gd name="connsiteX49" fmla="*/ 2701547 w 5741575"/>
              <a:gd name="connsiteY49" fmla="*/ 361545 h 955271"/>
              <a:gd name="connsiteX50" fmla="*/ 2711054 w 5741575"/>
              <a:gd name="connsiteY50" fmla="*/ 360597 h 955271"/>
              <a:gd name="connsiteX51" fmla="*/ 2710438 w 5741575"/>
              <a:gd name="connsiteY51" fmla="*/ 366958 h 955271"/>
              <a:gd name="connsiteX52" fmla="*/ 2722936 w 5741575"/>
              <a:gd name="connsiteY52" fmla="*/ 377633 h 955271"/>
              <a:gd name="connsiteX53" fmla="*/ 2777227 w 5741575"/>
              <a:gd name="connsiteY53" fmla="*/ 368972 h 955271"/>
              <a:gd name="connsiteX54" fmla="*/ 2779510 w 5741575"/>
              <a:gd name="connsiteY54" fmla="*/ 361652 h 955271"/>
              <a:gd name="connsiteX55" fmla="*/ 2786278 w 5741575"/>
              <a:gd name="connsiteY55" fmla="*/ 359869 h 955271"/>
              <a:gd name="connsiteX56" fmla="*/ 2792101 w 5741575"/>
              <a:gd name="connsiteY56" fmla="*/ 365927 h 955271"/>
              <a:gd name="connsiteX57" fmla="*/ 2885545 w 5741575"/>
              <a:gd name="connsiteY57" fmla="*/ 372818 h 955271"/>
              <a:gd name="connsiteX58" fmla="*/ 3009558 w 5741575"/>
              <a:gd name="connsiteY58" fmla="*/ 370573 h 955271"/>
              <a:gd name="connsiteX59" fmla="*/ 3095010 w 5741575"/>
              <a:gd name="connsiteY59" fmla="*/ 332454 h 955271"/>
              <a:gd name="connsiteX60" fmla="*/ 3103742 w 5741575"/>
              <a:gd name="connsiteY60" fmla="*/ 337974 h 955271"/>
              <a:gd name="connsiteX61" fmla="*/ 3165093 w 5741575"/>
              <a:gd name="connsiteY61" fmla="*/ 329459 h 955271"/>
              <a:gd name="connsiteX62" fmla="*/ 3373785 w 5741575"/>
              <a:gd name="connsiteY62" fmla="*/ 255680 h 955271"/>
              <a:gd name="connsiteX63" fmla="*/ 3493851 w 5741575"/>
              <a:gd name="connsiteY63" fmla="*/ 240255 h 955271"/>
              <a:gd name="connsiteX64" fmla="*/ 3537470 w 5741575"/>
              <a:gd name="connsiteY64" fmla="*/ 241867 h 955271"/>
              <a:gd name="connsiteX65" fmla="*/ 3610489 w 5741575"/>
              <a:gd name="connsiteY65" fmla="*/ 244128 h 955271"/>
              <a:gd name="connsiteX66" fmla="*/ 3667539 w 5741575"/>
              <a:gd name="connsiteY66" fmla="*/ 263271 h 955271"/>
              <a:gd name="connsiteX67" fmla="*/ 3727614 w 5741575"/>
              <a:gd name="connsiteY67" fmla="*/ 258245 h 955271"/>
              <a:gd name="connsiteX68" fmla="*/ 3738369 w 5741575"/>
              <a:gd name="connsiteY68" fmla="*/ 234506 h 955271"/>
              <a:gd name="connsiteX69" fmla="*/ 3803670 w 5741575"/>
              <a:gd name="connsiteY69" fmla="*/ 236457 h 955271"/>
              <a:gd name="connsiteX70" fmla="*/ 3903080 w 5741575"/>
              <a:gd name="connsiteY70" fmla="*/ 241890 h 955271"/>
              <a:gd name="connsiteX71" fmla="*/ 4114838 w 5741575"/>
              <a:gd name="connsiteY71" fmla="*/ 238165 h 955271"/>
              <a:gd name="connsiteX72" fmla="*/ 4271023 w 5741575"/>
              <a:gd name="connsiteY72" fmla="*/ 241959 h 955271"/>
              <a:gd name="connsiteX73" fmla="*/ 4367397 w 5741575"/>
              <a:gd name="connsiteY73" fmla="*/ 271442 h 955271"/>
              <a:gd name="connsiteX74" fmla="*/ 4495366 w 5741575"/>
              <a:gd name="connsiteY74" fmla="*/ 271618 h 955271"/>
              <a:gd name="connsiteX75" fmla="*/ 4517347 w 5741575"/>
              <a:gd name="connsiteY75" fmla="*/ 275639 h 955271"/>
              <a:gd name="connsiteX76" fmla="*/ 4546116 w 5741575"/>
              <a:gd name="connsiteY76" fmla="*/ 268568 h 955271"/>
              <a:gd name="connsiteX77" fmla="*/ 4661259 w 5741575"/>
              <a:gd name="connsiteY77" fmla="*/ 238966 h 955271"/>
              <a:gd name="connsiteX78" fmla="*/ 4750403 w 5741575"/>
              <a:gd name="connsiteY78" fmla="*/ 204364 h 955271"/>
              <a:gd name="connsiteX79" fmla="*/ 4867614 w 5741575"/>
              <a:gd name="connsiteY79" fmla="*/ 208668 h 955271"/>
              <a:gd name="connsiteX80" fmla="*/ 4937036 w 5741575"/>
              <a:gd name="connsiteY80" fmla="*/ 195446 h 955271"/>
              <a:gd name="connsiteX81" fmla="*/ 5047626 w 5741575"/>
              <a:gd name="connsiteY81" fmla="*/ 149604 h 955271"/>
              <a:gd name="connsiteX82" fmla="*/ 5200247 w 5741575"/>
              <a:gd name="connsiteY82" fmla="*/ 142695 h 955271"/>
              <a:gd name="connsiteX83" fmla="*/ 5235691 w 5741575"/>
              <a:gd name="connsiteY83" fmla="*/ 173330 h 955271"/>
              <a:gd name="connsiteX84" fmla="*/ 5280133 w 5741575"/>
              <a:gd name="connsiteY84" fmla="*/ 189342 h 955271"/>
              <a:gd name="connsiteX85" fmla="*/ 5291963 w 5741575"/>
              <a:gd name="connsiteY85" fmla="*/ 139446 h 955271"/>
              <a:gd name="connsiteX86" fmla="*/ 5418472 w 5741575"/>
              <a:gd name="connsiteY86" fmla="*/ 89163 h 955271"/>
              <a:gd name="connsiteX87" fmla="*/ 5482354 w 5741575"/>
              <a:gd name="connsiteY87" fmla="*/ 69470 h 955271"/>
              <a:gd name="connsiteX88" fmla="*/ 5583280 w 5741575"/>
              <a:gd name="connsiteY88" fmla="*/ 49787 h 955271"/>
              <a:gd name="connsiteX89" fmla="*/ 5613766 w 5741575"/>
              <a:gd name="connsiteY89" fmla="*/ 41855 h 955271"/>
              <a:gd name="connsiteX90" fmla="*/ 5684952 w 5741575"/>
              <a:gd name="connsiteY90" fmla="*/ 26088 h 955271"/>
              <a:gd name="connsiteX91" fmla="*/ 5741575 w 5741575"/>
              <a:gd name="connsiteY91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39115 w 5741575"/>
              <a:gd name="connsiteY7" fmla="*/ 949326 h 955271"/>
              <a:gd name="connsiteX8" fmla="*/ 93851 w 5741575"/>
              <a:gd name="connsiteY8" fmla="*/ 945611 h 955271"/>
              <a:gd name="connsiteX9" fmla="*/ 148657 w 5741575"/>
              <a:gd name="connsiteY9" fmla="*/ 898134 h 955271"/>
              <a:gd name="connsiteX10" fmla="*/ 174554 w 5741575"/>
              <a:gd name="connsiteY10" fmla="*/ 886351 h 955271"/>
              <a:gd name="connsiteX11" fmla="*/ 187633 w 5741575"/>
              <a:gd name="connsiteY11" fmla="*/ 878226 h 955271"/>
              <a:gd name="connsiteX12" fmla="*/ 187961 w 5741575"/>
              <a:gd name="connsiteY12" fmla="*/ 876538 h 955271"/>
              <a:gd name="connsiteX13" fmla="*/ 240501 w 5741575"/>
              <a:gd name="connsiteY13" fmla="*/ 873150 h 955271"/>
              <a:gd name="connsiteX14" fmla="*/ 246345 w 5741575"/>
              <a:gd name="connsiteY14" fmla="*/ 869942 h 955271"/>
              <a:gd name="connsiteX15" fmla="*/ 282041 w 5741575"/>
              <a:gd name="connsiteY15" fmla="*/ 871263 h 955271"/>
              <a:gd name="connsiteX16" fmla="*/ 299711 w 5741575"/>
              <a:gd name="connsiteY16" fmla="*/ 870064 h 955271"/>
              <a:gd name="connsiteX17" fmla="*/ 306299 w 5741575"/>
              <a:gd name="connsiteY17" fmla="*/ 873609 h 955271"/>
              <a:gd name="connsiteX18" fmla="*/ 331571 w 5741575"/>
              <a:gd name="connsiteY18" fmla="*/ 869866 h 955271"/>
              <a:gd name="connsiteX19" fmla="*/ 333872 w 5741575"/>
              <a:gd name="connsiteY19" fmla="*/ 867971 h 955271"/>
              <a:gd name="connsiteX20" fmla="*/ 356953 w 5741575"/>
              <a:gd name="connsiteY20" fmla="*/ 870334 h 955271"/>
              <a:gd name="connsiteX21" fmla="*/ 570239 w 5741575"/>
              <a:gd name="connsiteY21" fmla="*/ 829596 h 955271"/>
              <a:gd name="connsiteX22" fmla="*/ 787156 w 5741575"/>
              <a:gd name="connsiteY22" fmla="*/ 838447 h 955271"/>
              <a:gd name="connsiteX23" fmla="*/ 948872 w 5741575"/>
              <a:gd name="connsiteY23" fmla="*/ 772201 h 955271"/>
              <a:gd name="connsiteX24" fmla="*/ 1127089 w 5741575"/>
              <a:gd name="connsiteY24" fmla="*/ 746926 h 955271"/>
              <a:gd name="connsiteX25" fmla="*/ 1280768 w 5741575"/>
              <a:gd name="connsiteY25" fmla="*/ 699122 h 955271"/>
              <a:gd name="connsiteX26" fmla="*/ 1352027 w 5741575"/>
              <a:gd name="connsiteY26" fmla="*/ 704323 h 955271"/>
              <a:gd name="connsiteX27" fmla="*/ 1374314 w 5741575"/>
              <a:gd name="connsiteY27" fmla="*/ 688815 h 955271"/>
              <a:gd name="connsiteX28" fmla="*/ 1378034 w 5741575"/>
              <a:gd name="connsiteY28" fmla="*/ 685842 h 955271"/>
              <a:gd name="connsiteX29" fmla="*/ 1395604 w 5741575"/>
              <a:gd name="connsiteY29" fmla="*/ 680460 h 955271"/>
              <a:gd name="connsiteX30" fmla="*/ 1397206 w 5741575"/>
              <a:gd name="connsiteY30" fmla="*/ 670793 h 955271"/>
              <a:gd name="connsiteX31" fmla="*/ 1421250 w 5741575"/>
              <a:gd name="connsiteY31" fmla="*/ 656855 h 955271"/>
              <a:gd name="connsiteX32" fmla="*/ 1454524 w 5741575"/>
              <a:gd name="connsiteY32" fmla="*/ 649224 h 955271"/>
              <a:gd name="connsiteX33" fmla="*/ 1616217 w 5741575"/>
              <a:gd name="connsiteY33" fmla="*/ 622107 h 955271"/>
              <a:gd name="connsiteX34" fmla="*/ 1710928 w 5741575"/>
              <a:gd name="connsiteY34" fmla="*/ 600666 h 955271"/>
              <a:gd name="connsiteX35" fmla="*/ 1743718 w 5741575"/>
              <a:gd name="connsiteY35" fmla="*/ 584327 h 955271"/>
              <a:gd name="connsiteX36" fmla="*/ 1873778 w 5741575"/>
              <a:gd name="connsiteY36" fmla="*/ 530130 h 955271"/>
              <a:gd name="connsiteX37" fmla="*/ 1988411 w 5741575"/>
              <a:gd name="connsiteY37" fmla="*/ 491599 h 955271"/>
              <a:gd name="connsiteX38" fmla="*/ 2085507 w 5741575"/>
              <a:gd name="connsiteY38" fmla="*/ 498527 h 955271"/>
              <a:gd name="connsiteX39" fmla="*/ 2090767 w 5741575"/>
              <a:gd name="connsiteY39" fmla="*/ 490616 h 955271"/>
              <a:gd name="connsiteX40" fmla="*/ 2151143 w 5741575"/>
              <a:gd name="connsiteY40" fmla="*/ 478332 h 955271"/>
              <a:gd name="connsiteX41" fmla="*/ 2378710 w 5741575"/>
              <a:gd name="connsiteY41" fmla="*/ 477570 h 955271"/>
              <a:gd name="connsiteX42" fmla="*/ 2496256 w 5741575"/>
              <a:gd name="connsiteY42" fmla="*/ 452396 h 955271"/>
              <a:gd name="connsiteX43" fmla="*/ 2535387 w 5741575"/>
              <a:gd name="connsiteY43" fmla="*/ 436645 h 955271"/>
              <a:gd name="connsiteX44" fmla="*/ 2601109 w 5741575"/>
              <a:gd name="connsiteY44" fmla="*/ 410678 h 955271"/>
              <a:gd name="connsiteX45" fmla="*/ 2643855 w 5741575"/>
              <a:gd name="connsiteY45" fmla="*/ 374482 h 955271"/>
              <a:gd name="connsiteX46" fmla="*/ 2657726 w 5741575"/>
              <a:gd name="connsiteY46" fmla="*/ 365841 h 955271"/>
              <a:gd name="connsiteX47" fmla="*/ 2687125 w 5741575"/>
              <a:gd name="connsiteY47" fmla="*/ 366820 h 955271"/>
              <a:gd name="connsiteX48" fmla="*/ 2697479 w 5741575"/>
              <a:gd name="connsiteY48" fmla="*/ 361430 h 955271"/>
              <a:gd name="connsiteX49" fmla="*/ 2701547 w 5741575"/>
              <a:gd name="connsiteY49" fmla="*/ 361545 h 955271"/>
              <a:gd name="connsiteX50" fmla="*/ 2711054 w 5741575"/>
              <a:gd name="connsiteY50" fmla="*/ 360597 h 955271"/>
              <a:gd name="connsiteX51" fmla="*/ 2710438 w 5741575"/>
              <a:gd name="connsiteY51" fmla="*/ 366958 h 955271"/>
              <a:gd name="connsiteX52" fmla="*/ 2722936 w 5741575"/>
              <a:gd name="connsiteY52" fmla="*/ 377633 h 955271"/>
              <a:gd name="connsiteX53" fmla="*/ 2777227 w 5741575"/>
              <a:gd name="connsiteY53" fmla="*/ 368972 h 955271"/>
              <a:gd name="connsiteX54" fmla="*/ 2779510 w 5741575"/>
              <a:gd name="connsiteY54" fmla="*/ 361652 h 955271"/>
              <a:gd name="connsiteX55" fmla="*/ 2786278 w 5741575"/>
              <a:gd name="connsiteY55" fmla="*/ 359869 h 955271"/>
              <a:gd name="connsiteX56" fmla="*/ 2792101 w 5741575"/>
              <a:gd name="connsiteY56" fmla="*/ 365927 h 955271"/>
              <a:gd name="connsiteX57" fmla="*/ 2885545 w 5741575"/>
              <a:gd name="connsiteY57" fmla="*/ 372818 h 955271"/>
              <a:gd name="connsiteX58" fmla="*/ 3009558 w 5741575"/>
              <a:gd name="connsiteY58" fmla="*/ 370573 h 955271"/>
              <a:gd name="connsiteX59" fmla="*/ 3095010 w 5741575"/>
              <a:gd name="connsiteY59" fmla="*/ 332454 h 955271"/>
              <a:gd name="connsiteX60" fmla="*/ 3103742 w 5741575"/>
              <a:gd name="connsiteY60" fmla="*/ 337974 h 955271"/>
              <a:gd name="connsiteX61" fmla="*/ 3165093 w 5741575"/>
              <a:gd name="connsiteY61" fmla="*/ 329459 h 955271"/>
              <a:gd name="connsiteX62" fmla="*/ 3373785 w 5741575"/>
              <a:gd name="connsiteY62" fmla="*/ 255680 h 955271"/>
              <a:gd name="connsiteX63" fmla="*/ 3493851 w 5741575"/>
              <a:gd name="connsiteY63" fmla="*/ 240255 h 955271"/>
              <a:gd name="connsiteX64" fmla="*/ 3537470 w 5741575"/>
              <a:gd name="connsiteY64" fmla="*/ 241867 h 955271"/>
              <a:gd name="connsiteX65" fmla="*/ 3610489 w 5741575"/>
              <a:gd name="connsiteY65" fmla="*/ 244128 h 955271"/>
              <a:gd name="connsiteX66" fmla="*/ 3667539 w 5741575"/>
              <a:gd name="connsiteY66" fmla="*/ 263271 h 955271"/>
              <a:gd name="connsiteX67" fmla="*/ 3727614 w 5741575"/>
              <a:gd name="connsiteY67" fmla="*/ 258245 h 955271"/>
              <a:gd name="connsiteX68" fmla="*/ 3738369 w 5741575"/>
              <a:gd name="connsiteY68" fmla="*/ 234506 h 955271"/>
              <a:gd name="connsiteX69" fmla="*/ 3803670 w 5741575"/>
              <a:gd name="connsiteY69" fmla="*/ 236457 h 955271"/>
              <a:gd name="connsiteX70" fmla="*/ 3903080 w 5741575"/>
              <a:gd name="connsiteY70" fmla="*/ 241890 h 955271"/>
              <a:gd name="connsiteX71" fmla="*/ 4114838 w 5741575"/>
              <a:gd name="connsiteY71" fmla="*/ 238165 h 955271"/>
              <a:gd name="connsiteX72" fmla="*/ 4271023 w 5741575"/>
              <a:gd name="connsiteY72" fmla="*/ 241959 h 955271"/>
              <a:gd name="connsiteX73" fmla="*/ 4367397 w 5741575"/>
              <a:gd name="connsiteY73" fmla="*/ 271442 h 955271"/>
              <a:gd name="connsiteX74" fmla="*/ 4495366 w 5741575"/>
              <a:gd name="connsiteY74" fmla="*/ 271618 h 955271"/>
              <a:gd name="connsiteX75" fmla="*/ 4517347 w 5741575"/>
              <a:gd name="connsiteY75" fmla="*/ 275639 h 955271"/>
              <a:gd name="connsiteX76" fmla="*/ 4546116 w 5741575"/>
              <a:gd name="connsiteY76" fmla="*/ 268568 h 955271"/>
              <a:gd name="connsiteX77" fmla="*/ 4661259 w 5741575"/>
              <a:gd name="connsiteY77" fmla="*/ 238966 h 955271"/>
              <a:gd name="connsiteX78" fmla="*/ 4750403 w 5741575"/>
              <a:gd name="connsiteY78" fmla="*/ 204364 h 955271"/>
              <a:gd name="connsiteX79" fmla="*/ 4867614 w 5741575"/>
              <a:gd name="connsiteY79" fmla="*/ 208668 h 955271"/>
              <a:gd name="connsiteX80" fmla="*/ 4937036 w 5741575"/>
              <a:gd name="connsiteY80" fmla="*/ 195446 h 955271"/>
              <a:gd name="connsiteX81" fmla="*/ 5047626 w 5741575"/>
              <a:gd name="connsiteY81" fmla="*/ 149604 h 955271"/>
              <a:gd name="connsiteX82" fmla="*/ 5200247 w 5741575"/>
              <a:gd name="connsiteY82" fmla="*/ 142695 h 955271"/>
              <a:gd name="connsiteX83" fmla="*/ 5235691 w 5741575"/>
              <a:gd name="connsiteY83" fmla="*/ 173330 h 955271"/>
              <a:gd name="connsiteX84" fmla="*/ 5280133 w 5741575"/>
              <a:gd name="connsiteY84" fmla="*/ 189342 h 955271"/>
              <a:gd name="connsiteX85" fmla="*/ 5291963 w 5741575"/>
              <a:gd name="connsiteY85" fmla="*/ 139446 h 955271"/>
              <a:gd name="connsiteX86" fmla="*/ 5418472 w 5741575"/>
              <a:gd name="connsiteY86" fmla="*/ 89163 h 955271"/>
              <a:gd name="connsiteX87" fmla="*/ 5482354 w 5741575"/>
              <a:gd name="connsiteY87" fmla="*/ 69470 h 955271"/>
              <a:gd name="connsiteX88" fmla="*/ 5583280 w 5741575"/>
              <a:gd name="connsiteY88" fmla="*/ 49787 h 955271"/>
              <a:gd name="connsiteX89" fmla="*/ 5613766 w 5741575"/>
              <a:gd name="connsiteY89" fmla="*/ 41855 h 955271"/>
              <a:gd name="connsiteX90" fmla="*/ 5684952 w 5741575"/>
              <a:gd name="connsiteY90" fmla="*/ 26088 h 955271"/>
              <a:gd name="connsiteX91" fmla="*/ 5741575 w 5741575"/>
              <a:gd name="connsiteY91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39115 w 5741575"/>
              <a:gd name="connsiteY7" fmla="*/ 949326 h 955271"/>
              <a:gd name="connsiteX8" fmla="*/ 93851 w 5741575"/>
              <a:gd name="connsiteY8" fmla="*/ 945611 h 955271"/>
              <a:gd name="connsiteX9" fmla="*/ 148657 w 5741575"/>
              <a:gd name="connsiteY9" fmla="*/ 898134 h 955271"/>
              <a:gd name="connsiteX10" fmla="*/ 174554 w 5741575"/>
              <a:gd name="connsiteY10" fmla="*/ 886351 h 955271"/>
              <a:gd name="connsiteX11" fmla="*/ 187633 w 5741575"/>
              <a:gd name="connsiteY11" fmla="*/ 878226 h 955271"/>
              <a:gd name="connsiteX12" fmla="*/ 187961 w 5741575"/>
              <a:gd name="connsiteY12" fmla="*/ 876538 h 955271"/>
              <a:gd name="connsiteX13" fmla="*/ 240501 w 5741575"/>
              <a:gd name="connsiteY13" fmla="*/ 873150 h 955271"/>
              <a:gd name="connsiteX14" fmla="*/ 246345 w 5741575"/>
              <a:gd name="connsiteY14" fmla="*/ 869942 h 955271"/>
              <a:gd name="connsiteX15" fmla="*/ 282041 w 5741575"/>
              <a:gd name="connsiteY15" fmla="*/ 871263 h 955271"/>
              <a:gd name="connsiteX16" fmla="*/ 299711 w 5741575"/>
              <a:gd name="connsiteY16" fmla="*/ 870064 h 955271"/>
              <a:gd name="connsiteX17" fmla="*/ 306299 w 5741575"/>
              <a:gd name="connsiteY17" fmla="*/ 873609 h 955271"/>
              <a:gd name="connsiteX18" fmla="*/ 331571 w 5741575"/>
              <a:gd name="connsiteY18" fmla="*/ 869866 h 955271"/>
              <a:gd name="connsiteX19" fmla="*/ 333872 w 5741575"/>
              <a:gd name="connsiteY19" fmla="*/ 867971 h 955271"/>
              <a:gd name="connsiteX20" fmla="*/ 356953 w 5741575"/>
              <a:gd name="connsiteY20" fmla="*/ 870334 h 955271"/>
              <a:gd name="connsiteX21" fmla="*/ 570239 w 5741575"/>
              <a:gd name="connsiteY21" fmla="*/ 829596 h 955271"/>
              <a:gd name="connsiteX22" fmla="*/ 787156 w 5741575"/>
              <a:gd name="connsiteY22" fmla="*/ 838447 h 955271"/>
              <a:gd name="connsiteX23" fmla="*/ 948872 w 5741575"/>
              <a:gd name="connsiteY23" fmla="*/ 772201 h 955271"/>
              <a:gd name="connsiteX24" fmla="*/ 1127089 w 5741575"/>
              <a:gd name="connsiteY24" fmla="*/ 746926 h 955271"/>
              <a:gd name="connsiteX25" fmla="*/ 1220426 w 5741575"/>
              <a:gd name="connsiteY25" fmla="*/ 721810 h 955271"/>
              <a:gd name="connsiteX26" fmla="*/ 1352027 w 5741575"/>
              <a:gd name="connsiteY26" fmla="*/ 704323 h 955271"/>
              <a:gd name="connsiteX27" fmla="*/ 1374314 w 5741575"/>
              <a:gd name="connsiteY27" fmla="*/ 688815 h 955271"/>
              <a:gd name="connsiteX28" fmla="*/ 1378034 w 5741575"/>
              <a:gd name="connsiteY28" fmla="*/ 685842 h 955271"/>
              <a:gd name="connsiteX29" fmla="*/ 1395604 w 5741575"/>
              <a:gd name="connsiteY29" fmla="*/ 680460 h 955271"/>
              <a:gd name="connsiteX30" fmla="*/ 1397206 w 5741575"/>
              <a:gd name="connsiteY30" fmla="*/ 670793 h 955271"/>
              <a:gd name="connsiteX31" fmla="*/ 1421250 w 5741575"/>
              <a:gd name="connsiteY31" fmla="*/ 656855 h 955271"/>
              <a:gd name="connsiteX32" fmla="*/ 1454524 w 5741575"/>
              <a:gd name="connsiteY32" fmla="*/ 649224 h 955271"/>
              <a:gd name="connsiteX33" fmla="*/ 1616217 w 5741575"/>
              <a:gd name="connsiteY33" fmla="*/ 622107 h 955271"/>
              <a:gd name="connsiteX34" fmla="*/ 1710928 w 5741575"/>
              <a:gd name="connsiteY34" fmla="*/ 600666 h 955271"/>
              <a:gd name="connsiteX35" fmla="*/ 1743718 w 5741575"/>
              <a:gd name="connsiteY35" fmla="*/ 584327 h 955271"/>
              <a:gd name="connsiteX36" fmla="*/ 1873778 w 5741575"/>
              <a:gd name="connsiteY36" fmla="*/ 530130 h 955271"/>
              <a:gd name="connsiteX37" fmla="*/ 1988411 w 5741575"/>
              <a:gd name="connsiteY37" fmla="*/ 491599 h 955271"/>
              <a:gd name="connsiteX38" fmla="*/ 2085507 w 5741575"/>
              <a:gd name="connsiteY38" fmla="*/ 498527 h 955271"/>
              <a:gd name="connsiteX39" fmla="*/ 2090767 w 5741575"/>
              <a:gd name="connsiteY39" fmla="*/ 490616 h 955271"/>
              <a:gd name="connsiteX40" fmla="*/ 2151143 w 5741575"/>
              <a:gd name="connsiteY40" fmla="*/ 478332 h 955271"/>
              <a:gd name="connsiteX41" fmla="*/ 2378710 w 5741575"/>
              <a:gd name="connsiteY41" fmla="*/ 477570 h 955271"/>
              <a:gd name="connsiteX42" fmla="*/ 2496256 w 5741575"/>
              <a:gd name="connsiteY42" fmla="*/ 452396 h 955271"/>
              <a:gd name="connsiteX43" fmla="*/ 2535387 w 5741575"/>
              <a:gd name="connsiteY43" fmla="*/ 436645 h 955271"/>
              <a:gd name="connsiteX44" fmla="*/ 2601109 w 5741575"/>
              <a:gd name="connsiteY44" fmla="*/ 410678 h 955271"/>
              <a:gd name="connsiteX45" fmla="*/ 2643855 w 5741575"/>
              <a:gd name="connsiteY45" fmla="*/ 374482 h 955271"/>
              <a:gd name="connsiteX46" fmla="*/ 2657726 w 5741575"/>
              <a:gd name="connsiteY46" fmla="*/ 365841 h 955271"/>
              <a:gd name="connsiteX47" fmla="*/ 2687125 w 5741575"/>
              <a:gd name="connsiteY47" fmla="*/ 366820 h 955271"/>
              <a:gd name="connsiteX48" fmla="*/ 2697479 w 5741575"/>
              <a:gd name="connsiteY48" fmla="*/ 361430 h 955271"/>
              <a:gd name="connsiteX49" fmla="*/ 2701547 w 5741575"/>
              <a:gd name="connsiteY49" fmla="*/ 361545 h 955271"/>
              <a:gd name="connsiteX50" fmla="*/ 2711054 w 5741575"/>
              <a:gd name="connsiteY50" fmla="*/ 360597 h 955271"/>
              <a:gd name="connsiteX51" fmla="*/ 2710438 w 5741575"/>
              <a:gd name="connsiteY51" fmla="*/ 366958 h 955271"/>
              <a:gd name="connsiteX52" fmla="*/ 2722936 w 5741575"/>
              <a:gd name="connsiteY52" fmla="*/ 377633 h 955271"/>
              <a:gd name="connsiteX53" fmla="*/ 2777227 w 5741575"/>
              <a:gd name="connsiteY53" fmla="*/ 368972 h 955271"/>
              <a:gd name="connsiteX54" fmla="*/ 2779510 w 5741575"/>
              <a:gd name="connsiteY54" fmla="*/ 361652 h 955271"/>
              <a:gd name="connsiteX55" fmla="*/ 2786278 w 5741575"/>
              <a:gd name="connsiteY55" fmla="*/ 359869 h 955271"/>
              <a:gd name="connsiteX56" fmla="*/ 2792101 w 5741575"/>
              <a:gd name="connsiteY56" fmla="*/ 365927 h 955271"/>
              <a:gd name="connsiteX57" fmla="*/ 2885545 w 5741575"/>
              <a:gd name="connsiteY57" fmla="*/ 372818 h 955271"/>
              <a:gd name="connsiteX58" fmla="*/ 3009558 w 5741575"/>
              <a:gd name="connsiteY58" fmla="*/ 370573 h 955271"/>
              <a:gd name="connsiteX59" fmla="*/ 3095010 w 5741575"/>
              <a:gd name="connsiteY59" fmla="*/ 332454 h 955271"/>
              <a:gd name="connsiteX60" fmla="*/ 3103742 w 5741575"/>
              <a:gd name="connsiteY60" fmla="*/ 337974 h 955271"/>
              <a:gd name="connsiteX61" fmla="*/ 3165093 w 5741575"/>
              <a:gd name="connsiteY61" fmla="*/ 329459 h 955271"/>
              <a:gd name="connsiteX62" fmla="*/ 3373785 w 5741575"/>
              <a:gd name="connsiteY62" fmla="*/ 255680 h 955271"/>
              <a:gd name="connsiteX63" fmla="*/ 3493851 w 5741575"/>
              <a:gd name="connsiteY63" fmla="*/ 240255 h 955271"/>
              <a:gd name="connsiteX64" fmla="*/ 3537470 w 5741575"/>
              <a:gd name="connsiteY64" fmla="*/ 241867 h 955271"/>
              <a:gd name="connsiteX65" fmla="*/ 3610489 w 5741575"/>
              <a:gd name="connsiteY65" fmla="*/ 244128 h 955271"/>
              <a:gd name="connsiteX66" fmla="*/ 3667539 w 5741575"/>
              <a:gd name="connsiteY66" fmla="*/ 263271 h 955271"/>
              <a:gd name="connsiteX67" fmla="*/ 3727614 w 5741575"/>
              <a:gd name="connsiteY67" fmla="*/ 258245 h 955271"/>
              <a:gd name="connsiteX68" fmla="*/ 3738369 w 5741575"/>
              <a:gd name="connsiteY68" fmla="*/ 234506 h 955271"/>
              <a:gd name="connsiteX69" fmla="*/ 3803670 w 5741575"/>
              <a:gd name="connsiteY69" fmla="*/ 236457 h 955271"/>
              <a:gd name="connsiteX70" fmla="*/ 3903080 w 5741575"/>
              <a:gd name="connsiteY70" fmla="*/ 241890 h 955271"/>
              <a:gd name="connsiteX71" fmla="*/ 4114838 w 5741575"/>
              <a:gd name="connsiteY71" fmla="*/ 238165 h 955271"/>
              <a:gd name="connsiteX72" fmla="*/ 4271023 w 5741575"/>
              <a:gd name="connsiteY72" fmla="*/ 241959 h 955271"/>
              <a:gd name="connsiteX73" fmla="*/ 4367397 w 5741575"/>
              <a:gd name="connsiteY73" fmla="*/ 271442 h 955271"/>
              <a:gd name="connsiteX74" fmla="*/ 4495366 w 5741575"/>
              <a:gd name="connsiteY74" fmla="*/ 271618 h 955271"/>
              <a:gd name="connsiteX75" fmla="*/ 4517347 w 5741575"/>
              <a:gd name="connsiteY75" fmla="*/ 275639 h 955271"/>
              <a:gd name="connsiteX76" fmla="*/ 4546116 w 5741575"/>
              <a:gd name="connsiteY76" fmla="*/ 268568 h 955271"/>
              <a:gd name="connsiteX77" fmla="*/ 4661259 w 5741575"/>
              <a:gd name="connsiteY77" fmla="*/ 238966 h 955271"/>
              <a:gd name="connsiteX78" fmla="*/ 4750403 w 5741575"/>
              <a:gd name="connsiteY78" fmla="*/ 204364 h 955271"/>
              <a:gd name="connsiteX79" fmla="*/ 4867614 w 5741575"/>
              <a:gd name="connsiteY79" fmla="*/ 208668 h 955271"/>
              <a:gd name="connsiteX80" fmla="*/ 4937036 w 5741575"/>
              <a:gd name="connsiteY80" fmla="*/ 195446 h 955271"/>
              <a:gd name="connsiteX81" fmla="*/ 5047626 w 5741575"/>
              <a:gd name="connsiteY81" fmla="*/ 149604 h 955271"/>
              <a:gd name="connsiteX82" fmla="*/ 5200247 w 5741575"/>
              <a:gd name="connsiteY82" fmla="*/ 142695 h 955271"/>
              <a:gd name="connsiteX83" fmla="*/ 5235691 w 5741575"/>
              <a:gd name="connsiteY83" fmla="*/ 173330 h 955271"/>
              <a:gd name="connsiteX84" fmla="*/ 5280133 w 5741575"/>
              <a:gd name="connsiteY84" fmla="*/ 189342 h 955271"/>
              <a:gd name="connsiteX85" fmla="*/ 5291963 w 5741575"/>
              <a:gd name="connsiteY85" fmla="*/ 139446 h 955271"/>
              <a:gd name="connsiteX86" fmla="*/ 5418472 w 5741575"/>
              <a:gd name="connsiteY86" fmla="*/ 89163 h 955271"/>
              <a:gd name="connsiteX87" fmla="*/ 5482354 w 5741575"/>
              <a:gd name="connsiteY87" fmla="*/ 69470 h 955271"/>
              <a:gd name="connsiteX88" fmla="*/ 5583280 w 5741575"/>
              <a:gd name="connsiteY88" fmla="*/ 49787 h 955271"/>
              <a:gd name="connsiteX89" fmla="*/ 5613766 w 5741575"/>
              <a:gd name="connsiteY89" fmla="*/ 41855 h 955271"/>
              <a:gd name="connsiteX90" fmla="*/ 5684952 w 5741575"/>
              <a:gd name="connsiteY90" fmla="*/ 26088 h 955271"/>
              <a:gd name="connsiteX91" fmla="*/ 5741575 w 5741575"/>
              <a:gd name="connsiteY91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39115 w 5741575"/>
              <a:gd name="connsiteY7" fmla="*/ 949326 h 955271"/>
              <a:gd name="connsiteX8" fmla="*/ 93851 w 5741575"/>
              <a:gd name="connsiteY8" fmla="*/ 945611 h 955271"/>
              <a:gd name="connsiteX9" fmla="*/ 148657 w 5741575"/>
              <a:gd name="connsiteY9" fmla="*/ 898134 h 955271"/>
              <a:gd name="connsiteX10" fmla="*/ 174554 w 5741575"/>
              <a:gd name="connsiteY10" fmla="*/ 886351 h 955271"/>
              <a:gd name="connsiteX11" fmla="*/ 187633 w 5741575"/>
              <a:gd name="connsiteY11" fmla="*/ 878226 h 955271"/>
              <a:gd name="connsiteX12" fmla="*/ 187961 w 5741575"/>
              <a:gd name="connsiteY12" fmla="*/ 876538 h 955271"/>
              <a:gd name="connsiteX13" fmla="*/ 240501 w 5741575"/>
              <a:gd name="connsiteY13" fmla="*/ 873150 h 955271"/>
              <a:gd name="connsiteX14" fmla="*/ 246345 w 5741575"/>
              <a:gd name="connsiteY14" fmla="*/ 869942 h 955271"/>
              <a:gd name="connsiteX15" fmla="*/ 282041 w 5741575"/>
              <a:gd name="connsiteY15" fmla="*/ 871263 h 955271"/>
              <a:gd name="connsiteX16" fmla="*/ 299711 w 5741575"/>
              <a:gd name="connsiteY16" fmla="*/ 870064 h 955271"/>
              <a:gd name="connsiteX17" fmla="*/ 306299 w 5741575"/>
              <a:gd name="connsiteY17" fmla="*/ 873609 h 955271"/>
              <a:gd name="connsiteX18" fmla="*/ 331571 w 5741575"/>
              <a:gd name="connsiteY18" fmla="*/ 869866 h 955271"/>
              <a:gd name="connsiteX19" fmla="*/ 333872 w 5741575"/>
              <a:gd name="connsiteY19" fmla="*/ 867971 h 955271"/>
              <a:gd name="connsiteX20" fmla="*/ 356953 w 5741575"/>
              <a:gd name="connsiteY20" fmla="*/ 870334 h 955271"/>
              <a:gd name="connsiteX21" fmla="*/ 570239 w 5741575"/>
              <a:gd name="connsiteY21" fmla="*/ 829596 h 955271"/>
              <a:gd name="connsiteX22" fmla="*/ 787156 w 5741575"/>
              <a:gd name="connsiteY22" fmla="*/ 838447 h 955271"/>
              <a:gd name="connsiteX23" fmla="*/ 948872 w 5741575"/>
              <a:gd name="connsiteY23" fmla="*/ 772201 h 955271"/>
              <a:gd name="connsiteX24" fmla="*/ 1127089 w 5741575"/>
              <a:gd name="connsiteY24" fmla="*/ 746926 h 955271"/>
              <a:gd name="connsiteX25" fmla="*/ 1220426 w 5741575"/>
              <a:gd name="connsiteY25" fmla="*/ 721810 h 955271"/>
              <a:gd name="connsiteX26" fmla="*/ 1306771 w 5741575"/>
              <a:gd name="connsiteY26" fmla="*/ 717936 h 955271"/>
              <a:gd name="connsiteX27" fmla="*/ 1374314 w 5741575"/>
              <a:gd name="connsiteY27" fmla="*/ 688815 h 955271"/>
              <a:gd name="connsiteX28" fmla="*/ 1378034 w 5741575"/>
              <a:gd name="connsiteY28" fmla="*/ 685842 h 955271"/>
              <a:gd name="connsiteX29" fmla="*/ 1395604 w 5741575"/>
              <a:gd name="connsiteY29" fmla="*/ 680460 h 955271"/>
              <a:gd name="connsiteX30" fmla="*/ 1397206 w 5741575"/>
              <a:gd name="connsiteY30" fmla="*/ 670793 h 955271"/>
              <a:gd name="connsiteX31" fmla="*/ 1421250 w 5741575"/>
              <a:gd name="connsiteY31" fmla="*/ 656855 h 955271"/>
              <a:gd name="connsiteX32" fmla="*/ 1454524 w 5741575"/>
              <a:gd name="connsiteY32" fmla="*/ 649224 h 955271"/>
              <a:gd name="connsiteX33" fmla="*/ 1616217 w 5741575"/>
              <a:gd name="connsiteY33" fmla="*/ 622107 h 955271"/>
              <a:gd name="connsiteX34" fmla="*/ 1710928 w 5741575"/>
              <a:gd name="connsiteY34" fmla="*/ 600666 h 955271"/>
              <a:gd name="connsiteX35" fmla="*/ 1743718 w 5741575"/>
              <a:gd name="connsiteY35" fmla="*/ 584327 h 955271"/>
              <a:gd name="connsiteX36" fmla="*/ 1873778 w 5741575"/>
              <a:gd name="connsiteY36" fmla="*/ 530130 h 955271"/>
              <a:gd name="connsiteX37" fmla="*/ 1988411 w 5741575"/>
              <a:gd name="connsiteY37" fmla="*/ 491599 h 955271"/>
              <a:gd name="connsiteX38" fmla="*/ 2085507 w 5741575"/>
              <a:gd name="connsiteY38" fmla="*/ 498527 h 955271"/>
              <a:gd name="connsiteX39" fmla="*/ 2090767 w 5741575"/>
              <a:gd name="connsiteY39" fmla="*/ 490616 h 955271"/>
              <a:gd name="connsiteX40" fmla="*/ 2151143 w 5741575"/>
              <a:gd name="connsiteY40" fmla="*/ 478332 h 955271"/>
              <a:gd name="connsiteX41" fmla="*/ 2378710 w 5741575"/>
              <a:gd name="connsiteY41" fmla="*/ 477570 h 955271"/>
              <a:gd name="connsiteX42" fmla="*/ 2496256 w 5741575"/>
              <a:gd name="connsiteY42" fmla="*/ 452396 h 955271"/>
              <a:gd name="connsiteX43" fmla="*/ 2535387 w 5741575"/>
              <a:gd name="connsiteY43" fmla="*/ 436645 h 955271"/>
              <a:gd name="connsiteX44" fmla="*/ 2601109 w 5741575"/>
              <a:gd name="connsiteY44" fmla="*/ 410678 h 955271"/>
              <a:gd name="connsiteX45" fmla="*/ 2643855 w 5741575"/>
              <a:gd name="connsiteY45" fmla="*/ 374482 h 955271"/>
              <a:gd name="connsiteX46" fmla="*/ 2657726 w 5741575"/>
              <a:gd name="connsiteY46" fmla="*/ 365841 h 955271"/>
              <a:gd name="connsiteX47" fmla="*/ 2687125 w 5741575"/>
              <a:gd name="connsiteY47" fmla="*/ 366820 h 955271"/>
              <a:gd name="connsiteX48" fmla="*/ 2697479 w 5741575"/>
              <a:gd name="connsiteY48" fmla="*/ 361430 h 955271"/>
              <a:gd name="connsiteX49" fmla="*/ 2701547 w 5741575"/>
              <a:gd name="connsiteY49" fmla="*/ 361545 h 955271"/>
              <a:gd name="connsiteX50" fmla="*/ 2711054 w 5741575"/>
              <a:gd name="connsiteY50" fmla="*/ 360597 h 955271"/>
              <a:gd name="connsiteX51" fmla="*/ 2710438 w 5741575"/>
              <a:gd name="connsiteY51" fmla="*/ 366958 h 955271"/>
              <a:gd name="connsiteX52" fmla="*/ 2722936 w 5741575"/>
              <a:gd name="connsiteY52" fmla="*/ 377633 h 955271"/>
              <a:gd name="connsiteX53" fmla="*/ 2777227 w 5741575"/>
              <a:gd name="connsiteY53" fmla="*/ 368972 h 955271"/>
              <a:gd name="connsiteX54" fmla="*/ 2779510 w 5741575"/>
              <a:gd name="connsiteY54" fmla="*/ 361652 h 955271"/>
              <a:gd name="connsiteX55" fmla="*/ 2786278 w 5741575"/>
              <a:gd name="connsiteY55" fmla="*/ 359869 h 955271"/>
              <a:gd name="connsiteX56" fmla="*/ 2792101 w 5741575"/>
              <a:gd name="connsiteY56" fmla="*/ 365927 h 955271"/>
              <a:gd name="connsiteX57" fmla="*/ 2885545 w 5741575"/>
              <a:gd name="connsiteY57" fmla="*/ 372818 h 955271"/>
              <a:gd name="connsiteX58" fmla="*/ 3009558 w 5741575"/>
              <a:gd name="connsiteY58" fmla="*/ 370573 h 955271"/>
              <a:gd name="connsiteX59" fmla="*/ 3095010 w 5741575"/>
              <a:gd name="connsiteY59" fmla="*/ 332454 h 955271"/>
              <a:gd name="connsiteX60" fmla="*/ 3103742 w 5741575"/>
              <a:gd name="connsiteY60" fmla="*/ 337974 h 955271"/>
              <a:gd name="connsiteX61" fmla="*/ 3165093 w 5741575"/>
              <a:gd name="connsiteY61" fmla="*/ 329459 h 955271"/>
              <a:gd name="connsiteX62" fmla="*/ 3373785 w 5741575"/>
              <a:gd name="connsiteY62" fmla="*/ 255680 h 955271"/>
              <a:gd name="connsiteX63" fmla="*/ 3493851 w 5741575"/>
              <a:gd name="connsiteY63" fmla="*/ 240255 h 955271"/>
              <a:gd name="connsiteX64" fmla="*/ 3537470 w 5741575"/>
              <a:gd name="connsiteY64" fmla="*/ 241867 h 955271"/>
              <a:gd name="connsiteX65" fmla="*/ 3610489 w 5741575"/>
              <a:gd name="connsiteY65" fmla="*/ 244128 h 955271"/>
              <a:gd name="connsiteX66" fmla="*/ 3667539 w 5741575"/>
              <a:gd name="connsiteY66" fmla="*/ 263271 h 955271"/>
              <a:gd name="connsiteX67" fmla="*/ 3727614 w 5741575"/>
              <a:gd name="connsiteY67" fmla="*/ 258245 h 955271"/>
              <a:gd name="connsiteX68" fmla="*/ 3738369 w 5741575"/>
              <a:gd name="connsiteY68" fmla="*/ 234506 h 955271"/>
              <a:gd name="connsiteX69" fmla="*/ 3803670 w 5741575"/>
              <a:gd name="connsiteY69" fmla="*/ 236457 h 955271"/>
              <a:gd name="connsiteX70" fmla="*/ 3903080 w 5741575"/>
              <a:gd name="connsiteY70" fmla="*/ 241890 h 955271"/>
              <a:gd name="connsiteX71" fmla="*/ 4114838 w 5741575"/>
              <a:gd name="connsiteY71" fmla="*/ 238165 h 955271"/>
              <a:gd name="connsiteX72" fmla="*/ 4271023 w 5741575"/>
              <a:gd name="connsiteY72" fmla="*/ 241959 h 955271"/>
              <a:gd name="connsiteX73" fmla="*/ 4367397 w 5741575"/>
              <a:gd name="connsiteY73" fmla="*/ 271442 h 955271"/>
              <a:gd name="connsiteX74" fmla="*/ 4495366 w 5741575"/>
              <a:gd name="connsiteY74" fmla="*/ 271618 h 955271"/>
              <a:gd name="connsiteX75" fmla="*/ 4517347 w 5741575"/>
              <a:gd name="connsiteY75" fmla="*/ 275639 h 955271"/>
              <a:gd name="connsiteX76" fmla="*/ 4546116 w 5741575"/>
              <a:gd name="connsiteY76" fmla="*/ 268568 h 955271"/>
              <a:gd name="connsiteX77" fmla="*/ 4661259 w 5741575"/>
              <a:gd name="connsiteY77" fmla="*/ 238966 h 955271"/>
              <a:gd name="connsiteX78" fmla="*/ 4750403 w 5741575"/>
              <a:gd name="connsiteY78" fmla="*/ 204364 h 955271"/>
              <a:gd name="connsiteX79" fmla="*/ 4867614 w 5741575"/>
              <a:gd name="connsiteY79" fmla="*/ 208668 h 955271"/>
              <a:gd name="connsiteX80" fmla="*/ 4937036 w 5741575"/>
              <a:gd name="connsiteY80" fmla="*/ 195446 h 955271"/>
              <a:gd name="connsiteX81" fmla="*/ 5047626 w 5741575"/>
              <a:gd name="connsiteY81" fmla="*/ 149604 h 955271"/>
              <a:gd name="connsiteX82" fmla="*/ 5200247 w 5741575"/>
              <a:gd name="connsiteY82" fmla="*/ 142695 h 955271"/>
              <a:gd name="connsiteX83" fmla="*/ 5235691 w 5741575"/>
              <a:gd name="connsiteY83" fmla="*/ 173330 h 955271"/>
              <a:gd name="connsiteX84" fmla="*/ 5280133 w 5741575"/>
              <a:gd name="connsiteY84" fmla="*/ 189342 h 955271"/>
              <a:gd name="connsiteX85" fmla="*/ 5291963 w 5741575"/>
              <a:gd name="connsiteY85" fmla="*/ 139446 h 955271"/>
              <a:gd name="connsiteX86" fmla="*/ 5418472 w 5741575"/>
              <a:gd name="connsiteY86" fmla="*/ 89163 h 955271"/>
              <a:gd name="connsiteX87" fmla="*/ 5482354 w 5741575"/>
              <a:gd name="connsiteY87" fmla="*/ 69470 h 955271"/>
              <a:gd name="connsiteX88" fmla="*/ 5583280 w 5741575"/>
              <a:gd name="connsiteY88" fmla="*/ 49787 h 955271"/>
              <a:gd name="connsiteX89" fmla="*/ 5613766 w 5741575"/>
              <a:gd name="connsiteY89" fmla="*/ 41855 h 955271"/>
              <a:gd name="connsiteX90" fmla="*/ 5684952 w 5741575"/>
              <a:gd name="connsiteY90" fmla="*/ 26088 h 955271"/>
              <a:gd name="connsiteX91" fmla="*/ 5741575 w 5741575"/>
              <a:gd name="connsiteY91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39115 w 5741575"/>
              <a:gd name="connsiteY7" fmla="*/ 949326 h 955271"/>
              <a:gd name="connsiteX8" fmla="*/ 93851 w 5741575"/>
              <a:gd name="connsiteY8" fmla="*/ 945611 h 955271"/>
              <a:gd name="connsiteX9" fmla="*/ 148657 w 5741575"/>
              <a:gd name="connsiteY9" fmla="*/ 898134 h 955271"/>
              <a:gd name="connsiteX10" fmla="*/ 174554 w 5741575"/>
              <a:gd name="connsiteY10" fmla="*/ 886351 h 955271"/>
              <a:gd name="connsiteX11" fmla="*/ 187633 w 5741575"/>
              <a:gd name="connsiteY11" fmla="*/ 878226 h 955271"/>
              <a:gd name="connsiteX12" fmla="*/ 187961 w 5741575"/>
              <a:gd name="connsiteY12" fmla="*/ 876538 h 955271"/>
              <a:gd name="connsiteX13" fmla="*/ 240501 w 5741575"/>
              <a:gd name="connsiteY13" fmla="*/ 873150 h 955271"/>
              <a:gd name="connsiteX14" fmla="*/ 246345 w 5741575"/>
              <a:gd name="connsiteY14" fmla="*/ 869942 h 955271"/>
              <a:gd name="connsiteX15" fmla="*/ 282041 w 5741575"/>
              <a:gd name="connsiteY15" fmla="*/ 871263 h 955271"/>
              <a:gd name="connsiteX16" fmla="*/ 299711 w 5741575"/>
              <a:gd name="connsiteY16" fmla="*/ 870064 h 955271"/>
              <a:gd name="connsiteX17" fmla="*/ 306299 w 5741575"/>
              <a:gd name="connsiteY17" fmla="*/ 873609 h 955271"/>
              <a:gd name="connsiteX18" fmla="*/ 331571 w 5741575"/>
              <a:gd name="connsiteY18" fmla="*/ 869866 h 955271"/>
              <a:gd name="connsiteX19" fmla="*/ 333872 w 5741575"/>
              <a:gd name="connsiteY19" fmla="*/ 867971 h 955271"/>
              <a:gd name="connsiteX20" fmla="*/ 356953 w 5741575"/>
              <a:gd name="connsiteY20" fmla="*/ 870334 h 955271"/>
              <a:gd name="connsiteX21" fmla="*/ 570239 w 5741575"/>
              <a:gd name="connsiteY21" fmla="*/ 829596 h 955271"/>
              <a:gd name="connsiteX22" fmla="*/ 787156 w 5741575"/>
              <a:gd name="connsiteY22" fmla="*/ 838447 h 955271"/>
              <a:gd name="connsiteX23" fmla="*/ 948872 w 5741575"/>
              <a:gd name="connsiteY23" fmla="*/ 772201 h 955271"/>
              <a:gd name="connsiteX24" fmla="*/ 1127089 w 5741575"/>
              <a:gd name="connsiteY24" fmla="*/ 746926 h 955271"/>
              <a:gd name="connsiteX25" fmla="*/ 1220426 w 5741575"/>
              <a:gd name="connsiteY25" fmla="*/ 721810 h 955271"/>
              <a:gd name="connsiteX26" fmla="*/ 1306771 w 5741575"/>
              <a:gd name="connsiteY26" fmla="*/ 717936 h 955271"/>
              <a:gd name="connsiteX27" fmla="*/ 1374314 w 5741575"/>
              <a:gd name="connsiteY27" fmla="*/ 688815 h 955271"/>
              <a:gd name="connsiteX28" fmla="*/ 1378034 w 5741575"/>
              <a:gd name="connsiteY28" fmla="*/ 685842 h 955271"/>
              <a:gd name="connsiteX29" fmla="*/ 1395604 w 5741575"/>
              <a:gd name="connsiteY29" fmla="*/ 680460 h 955271"/>
              <a:gd name="connsiteX30" fmla="*/ 1397206 w 5741575"/>
              <a:gd name="connsiteY30" fmla="*/ 670793 h 955271"/>
              <a:gd name="connsiteX31" fmla="*/ 1421250 w 5741575"/>
              <a:gd name="connsiteY31" fmla="*/ 656855 h 955271"/>
              <a:gd name="connsiteX32" fmla="*/ 1454524 w 5741575"/>
              <a:gd name="connsiteY32" fmla="*/ 649224 h 955271"/>
              <a:gd name="connsiteX33" fmla="*/ 1616217 w 5741575"/>
              <a:gd name="connsiteY33" fmla="*/ 622107 h 955271"/>
              <a:gd name="connsiteX34" fmla="*/ 1710928 w 5741575"/>
              <a:gd name="connsiteY34" fmla="*/ 600666 h 955271"/>
              <a:gd name="connsiteX35" fmla="*/ 1743718 w 5741575"/>
              <a:gd name="connsiteY35" fmla="*/ 584327 h 955271"/>
              <a:gd name="connsiteX36" fmla="*/ 1873778 w 5741575"/>
              <a:gd name="connsiteY36" fmla="*/ 530130 h 955271"/>
              <a:gd name="connsiteX37" fmla="*/ 1988411 w 5741575"/>
              <a:gd name="connsiteY37" fmla="*/ 491599 h 955271"/>
              <a:gd name="connsiteX38" fmla="*/ 2085507 w 5741575"/>
              <a:gd name="connsiteY38" fmla="*/ 498527 h 955271"/>
              <a:gd name="connsiteX39" fmla="*/ 2090767 w 5741575"/>
              <a:gd name="connsiteY39" fmla="*/ 490616 h 955271"/>
              <a:gd name="connsiteX40" fmla="*/ 2151143 w 5741575"/>
              <a:gd name="connsiteY40" fmla="*/ 478332 h 955271"/>
              <a:gd name="connsiteX41" fmla="*/ 2378710 w 5741575"/>
              <a:gd name="connsiteY41" fmla="*/ 477570 h 955271"/>
              <a:gd name="connsiteX42" fmla="*/ 2496256 w 5741575"/>
              <a:gd name="connsiteY42" fmla="*/ 452396 h 955271"/>
              <a:gd name="connsiteX43" fmla="*/ 2535387 w 5741575"/>
              <a:gd name="connsiteY43" fmla="*/ 436645 h 955271"/>
              <a:gd name="connsiteX44" fmla="*/ 2601109 w 5741575"/>
              <a:gd name="connsiteY44" fmla="*/ 410678 h 955271"/>
              <a:gd name="connsiteX45" fmla="*/ 2643855 w 5741575"/>
              <a:gd name="connsiteY45" fmla="*/ 374482 h 955271"/>
              <a:gd name="connsiteX46" fmla="*/ 2657726 w 5741575"/>
              <a:gd name="connsiteY46" fmla="*/ 365841 h 955271"/>
              <a:gd name="connsiteX47" fmla="*/ 2687125 w 5741575"/>
              <a:gd name="connsiteY47" fmla="*/ 366820 h 955271"/>
              <a:gd name="connsiteX48" fmla="*/ 2697479 w 5741575"/>
              <a:gd name="connsiteY48" fmla="*/ 361430 h 955271"/>
              <a:gd name="connsiteX49" fmla="*/ 2701547 w 5741575"/>
              <a:gd name="connsiteY49" fmla="*/ 361545 h 955271"/>
              <a:gd name="connsiteX50" fmla="*/ 2711054 w 5741575"/>
              <a:gd name="connsiteY50" fmla="*/ 360597 h 955271"/>
              <a:gd name="connsiteX51" fmla="*/ 2710438 w 5741575"/>
              <a:gd name="connsiteY51" fmla="*/ 366958 h 955271"/>
              <a:gd name="connsiteX52" fmla="*/ 2722936 w 5741575"/>
              <a:gd name="connsiteY52" fmla="*/ 377633 h 955271"/>
              <a:gd name="connsiteX53" fmla="*/ 2777227 w 5741575"/>
              <a:gd name="connsiteY53" fmla="*/ 368972 h 955271"/>
              <a:gd name="connsiteX54" fmla="*/ 2779510 w 5741575"/>
              <a:gd name="connsiteY54" fmla="*/ 361652 h 955271"/>
              <a:gd name="connsiteX55" fmla="*/ 2786278 w 5741575"/>
              <a:gd name="connsiteY55" fmla="*/ 359869 h 955271"/>
              <a:gd name="connsiteX56" fmla="*/ 2792101 w 5741575"/>
              <a:gd name="connsiteY56" fmla="*/ 365927 h 955271"/>
              <a:gd name="connsiteX57" fmla="*/ 2885545 w 5741575"/>
              <a:gd name="connsiteY57" fmla="*/ 372818 h 955271"/>
              <a:gd name="connsiteX58" fmla="*/ 3009558 w 5741575"/>
              <a:gd name="connsiteY58" fmla="*/ 370573 h 955271"/>
              <a:gd name="connsiteX59" fmla="*/ 3095010 w 5741575"/>
              <a:gd name="connsiteY59" fmla="*/ 332454 h 955271"/>
              <a:gd name="connsiteX60" fmla="*/ 3103742 w 5741575"/>
              <a:gd name="connsiteY60" fmla="*/ 337974 h 955271"/>
              <a:gd name="connsiteX61" fmla="*/ 3165093 w 5741575"/>
              <a:gd name="connsiteY61" fmla="*/ 329459 h 955271"/>
              <a:gd name="connsiteX62" fmla="*/ 3373785 w 5741575"/>
              <a:gd name="connsiteY62" fmla="*/ 255680 h 955271"/>
              <a:gd name="connsiteX63" fmla="*/ 3493851 w 5741575"/>
              <a:gd name="connsiteY63" fmla="*/ 240255 h 955271"/>
              <a:gd name="connsiteX64" fmla="*/ 3537470 w 5741575"/>
              <a:gd name="connsiteY64" fmla="*/ 241867 h 955271"/>
              <a:gd name="connsiteX65" fmla="*/ 3610489 w 5741575"/>
              <a:gd name="connsiteY65" fmla="*/ 244128 h 955271"/>
              <a:gd name="connsiteX66" fmla="*/ 3667539 w 5741575"/>
              <a:gd name="connsiteY66" fmla="*/ 263271 h 955271"/>
              <a:gd name="connsiteX67" fmla="*/ 3727614 w 5741575"/>
              <a:gd name="connsiteY67" fmla="*/ 258245 h 955271"/>
              <a:gd name="connsiteX68" fmla="*/ 3738369 w 5741575"/>
              <a:gd name="connsiteY68" fmla="*/ 234506 h 955271"/>
              <a:gd name="connsiteX69" fmla="*/ 3803670 w 5741575"/>
              <a:gd name="connsiteY69" fmla="*/ 236457 h 955271"/>
              <a:gd name="connsiteX70" fmla="*/ 3903080 w 5741575"/>
              <a:gd name="connsiteY70" fmla="*/ 241890 h 955271"/>
              <a:gd name="connsiteX71" fmla="*/ 4114838 w 5741575"/>
              <a:gd name="connsiteY71" fmla="*/ 238165 h 955271"/>
              <a:gd name="connsiteX72" fmla="*/ 4271023 w 5741575"/>
              <a:gd name="connsiteY72" fmla="*/ 241959 h 955271"/>
              <a:gd name="connsiteX73" fmla="*/ 4367397 w 5741575"/>
              <a:gd name="connsiteY73" fmla="*/ 271442 h 955271"/>
              <a:gd name="connsiteX74" fmla="*/ 4495366 w 5741575"/>
              <a:gd name="connsiteY74" fmla="*/ 271618 h 955271"/>
              <a:gd name="connsiteX75" fmla="*/ 4517347 w 5741575"/>
              <a:gd name="connsiteY75" fmla="*/ 275639 h 955271"/>
              <a:gd name="connsiteX76" fmla="*/ 4546116 w 5741575"/>
              <a:gd name="connsiteY76" fmla="*/ 268568 h 955271"/>
              <a:gd name="connsiteX77" fmla="*/ 4661259 w 5741575"/>
              <a:gd name="connsiteY77" fmla="*/ 238966 h 955271"/>
              <a:gd name="connsiteX78" fmla="*/ 4750403 w 5741575"/>
              <a:gd name="connsiteY78" fmla="*/ 204364 h 955271"/>
              <a:gd name="connsiteX79" fmla="*/ 4867614 w 5741575"/>
              <a:gd name="connsiteY79" fmla="*/ 208668 h 955271"/>
              <a:gd name="connsiteX80" fmla="*/ 4937036 w 5741575"/>
              <a:gd name="connsiteY80" fmla="*/ 195446 h 955271"/>
              <a:gd name="connsiteX81" fmla="*/ 5047626 w 5741575"/>
              <a:gd name="connsiteY81" fmla="*/ 149604 h 955271"/>
              <a:gd name="connsiteX82" fmla="*/ 5200247 w 5741575"/>
              <a:gd name="connsiteY82" fmla="*/ 142695 h 955271"/>
              <a:gd name="connsiteX83" fmla="*/ 5235691 w 5741575"/>
              <a:gd name="connsiteY83" fmla="*/ 173330 h 955271"/>
              <a:gd name="connsiteX84" fmla="*/ 5280133 w 5741575"/>
              <a:gd name="connsiteY84" fmla="*/ 189342 h 955271"/>
              <a:gd name="connsiteX85" fmla="*/ 5291963 w 5741575"/>
              <a:gd name="connsiteY85" fmla="*/ 139446 h 955271"/>
              <a:gd name="connsiteX86" fmla="*/ 5418472 w 5741575"/>
              <a:gd name="connsiteY86" fmla="*/ 89163 h 955271"/>
              <a:gd name="connsiteX87" fmla="*/ 5482354 w 5741575"/>
              <a:gd name="connsiteY87" fmla="*/ 69470 h 955271"/>
              <a:gd name="connsiteX88" fmla="*/ 5583280 w 5741575"/>
              <a:gd name="connsiteY88" fmla="*/ 49787 h 955271"/>
              <a:gd name="connsiteX89" fmla="*/ 5613766 w 5741575"/>
              <a:gd name="connsiteY89" fmla="*/ 41855 h 955271"/>
              <a:gd name="connsiteX90" fmla="*/ 5684952 w 5741575"/>
              <a:gd name="connsiteY90" fmla="*/ 26088 h 955271"/>
              <a:gd name="connsiteX91" fmla="*/ 5741575 w 5741575"/>
              <a:gd name="connsiteY91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39115 w 5741575"/>
              <a:gd name="connsiteY7" fmla="*/ 949326 h 955271"/>
              <a:gd name="connsiteX8" fmla="*/ 93851 w 5741575"/>
              <a:gd name="connsiteY8" fmla="*/ 945611 h 955271"/>
              <a:gd name="connsiteX9" fmla="*/ 148657 w 5741575"/>
              <a:gd name="connsiteY9" fmla="*/ 898134 h 955271"/>
              <a:gd name="connsiteX10" fmla="*/ 174554 w 5741575"/>
              <a:gd name="connsiteY10" fmla="*/ 886351 h 955271"/>
              <a:gd name="connsiteX11" fmla="*/ 187633 w 5741575"/>
              <a:gd name="connsiteY11" fmla="*/ 878226 h 955271"/>
              <a:gd name="connsiteX12" fmla="*/ 187961 w 5741575"/>
              <a:gd name="connsiteY12" fmla="*/ 876538 h 955271"/>
              <a:gd name="connsiteX13" fmla="*/ 240501 w 5741575"/>
              <a:gd name="connsiteY13" fmla="*/ 873150 h 955271"/>
              <a:gd name="connsiteX14" fmla="*/ 246345 w 5741575"/>
              <a:gd name="connsiteY14" fmla="*/ 869942 h 955271"/>
              <a:gd name="connsiteX15" fmla="*/ 282041 w 5741575"/>
              <a:gd name="connsiteY15" fmla="*/ 871263 h 955271"/>
              <a:gd name="connsiteX16" fmla="*/ 299711 w 5741575"/>
              <a:gd name="connsiteY16" fmla="*/ 870064 h 955271"/>
              <a:gd name="connsiteX17" fmla="*/ 306299 w 5741575"/>
              <a:gd name="connsiteY17" fmla="*/ 873609 h 955271"/>
              <a:gd name="connsiteX18" fmla="*/ 331571 w 5741575"/>
              <a:gd name="connsiteY18" fmla="*/ 869866 h 955271"/>
              <a:gd name="connsiteX19" fmla="*/ 333872 w 5741575"/>
              <a:gd name="connsiteY19" fmla="*/ 867971 h 955271"/>
              <a:gd name="connsiteX20" fmla="*/ 477637 w 5741575"/>
              <a:gd name="connsiteY20" fmla="*/ 870334 h 955271"/>
              <a:gd name="connsiteX21" fmla="*/ 570239 w 5741575"/>
              <a:gd name="connsiteY21" fmla="*/ 829596 h 955271"/>
              <a:gd name="connsiteX22" fmla="*/ 787156 w 5741575"/>
              <a:gd name="connsiteY22" fmla="*/ 838447 h 955271"/>
              <a:gd name="connsiteX23" fmla="*/ 948872 w 5741575"/>
              <a:gd name="connsiteY23" fmla="*/ 772201 h 955271"/>
              <a:gd name="connsiteX24" fmla="*/ 1127089 w 5741575"/>
              <a:gd name="connsiteY24" fmla="*/ 746926 h 955271"/>
              <a:gd name="connsiteX25" fmla="*/ 1220426 w 5741575"/>
              <a:gd name="connsiteY25" fmla="*/ 721810 h 955271"/>
              <a:gd name="connsiteX26" fmla="*/ 1306771 w 5741575"/>
              <a:gd name="connsiteY26" fmla="*/ 717936 h 955271"/>
              <a:gd name="connsiteX27" fmla="*/ 1374314 w 5741575"/>
              <a:gd name="connsiteY27" fmla="*/ 688815 h 955271"/>
              <a:gd name="connsiteX28" fmla="*/ 1378034 w 5741575"/>
              <a:gd name="connsiteY28" fmla="*/ 685842 h 955271"/>
              <a:gd name="connsiteX29" fmla="*/ 1395604 w 5741575"/>
              <a:gd name="connsiteY29" fmla="*/ 680460 h 955271"/>
              <a:gd name="connsiteX30" fmla="*/ 1397206 w 5741575"/>
              <a:gd name="connsiteY30" fmla="*/ 670793 h 955271"/>
              <a:gd name="connsiteX31" fmla="*/ 1421250 w 5741575"/>
              <a:gd name="connsiteY31" fmla="*/ 656855 h 955271"/>
              <a:gd name="connsiteX32" fmla="*/ 1454524 w 5741575"/>
              <a:gd name="connsiteY32" fmla="*/ 649224 h 955271"/>
              <a:gd name="connsiteX33" fmla="*/ 1616217 w 5741575"/>
              <a:gd name="connsiteY33" fmla="*/ 622107 h 955271"/>
              <a:gd name="connsiteX34" fmla="*/ 1710928 w 5741575"/>
              <a:gd name="connsiteY34" fmla="*/ 600666 h 955271"/>
              <a:gd name="connsiteX35" fmla="*/ 1743718 w 5741575"/>
              <a:gd name="connsiteY35" fmla="*/ 584327 h 955271"/>
              <a:gd name="connsiteX36" fmla="*/ 1873778 w 5741575"/>
              <a:gd name="connsiteY36" fmla="*/ 530130 h 955271"/>
              <a:gd name="connsiteX37" fmla="*/ 1988411 w 5741575"/>
              <a:gd name="connsiteY37" fmla="*/ 491599 h 955271"/>
              <a:gd name="connsiteX38" fmla="*/ 2085507 w 5741575"/>
              <a:gd name="connsiteY38" fmla="*/ 498527 h 955271"/>
              <a:gd name="connsiteX39" fmla="*/ 2090767 w 5741575"/>
              <a:gd name="connsiteY39" fmla="*/ 490616 h 955271"/>
              <a:gd name="connsiteX40" fmla="*/ 2151143 w 5741575"/>
              <a:gd name="connsiteY40" fmla="*/ 478332 h 955271"/>
              <a:gd name="connsiteX41" fmla="*/ 2378710 w 5741575"/>
              <a:gd name="connsiteY41" fmla="*/ 477570 h 955271"/>
              <a:gd name="connsiteX42" fmla="*/ 2496256 w 5741575"/>
              <a:gd name="connsiteY42" fmla="*/ 452396 h 955271"/>
              <a:gd name="connsiteX43" fmla="*/ 2535387 w 5741575"/>
              <a:gd name="connsiteY43" fmla="*/ 436645 h 955271"/>
              <a:gd name="connsiteX44" fmla="*/ 2601109 w 5741575"/>
              <a:gd name="connsiteY44" fmla="*/ 410678 h 955271"/>
              <a:gd name="connsiteX45" fmla="*/ 2643855 w 5741575"/>
              <a:gd name="connsiteY45" fmla="*/ 374482 h 955271"/>
              <a:gd name="connsiteX46" fmla="*/ 2657726 w 5741575"/>
              <a:gd name="connsiteY46" fmla="*/ 365841 h 955271"/>
              <a:gd name="connsiteX47" fmla="*/ 2687125 w 5741575"/>
              <a:gd name="connsiteY47" fmla="*/ 366820 h 955271"/>
              <a:gd name="connsiteX48" fmla="*/ 2697479 w 5741575"/>
              <a:gd name="connsiteY48" fmla="*/ 361430 h 955271"/>
              <a:gd name="connsiteX49" fmla="*/ 2701547 w 5741575"/>
              <a:gd name="connsiteY49" fmla="*/ 361545 h 955271"/>
              <a:gd name="connsiteX50" fmla="*/ 2711054 w 5741575"/>
              <a:gd name="connsiteY50" fmla="*/ 360597 h 955271"/>
              <a:gd name="connsiteX51" fmla="*/ 2710438 w 5741575"/>
              <a:gd name="connsiteY51" fmla="*/ 366958 h 955271"/>
              <a:gd name="connsiteX52" fmla="*/ 2722936 w 5741575"/>
              <a:gd name="connsiteY52" fmla="*/ 377633 h 955271"/>
              <a:gd name="connsiteX53" fmla="*/ 2777227 w 5741575"/>
              <a:gd name="connsiteY53" fmla="*/ 368972 h 955271"/>
              <a:gd name="connsiteX54" fmla="*/ 2779510 w 5741575"/>
              <a:gd name="connsiteY54" fmla="*/ 361652 h 955271"/>
              <a:gd name="connsiteX55" fmla="*/ 2786278 w 5741575"/>
              <a:gd name="connsiteY55" fmla="*/ 359869 h 955271"/>
              <a:gd name="connsiteX56" fmla="*/ 2792101 w 5741575"/>
              <a:gd name="connsiteY56" fmla="*/ 365927 h 955271"/>
              <a:gd name="connsiteX57" fmla="*/ 2885545 w 5741575"/>
              <a:gd name="connsiteY57" fmla="*/ 372818 h 955271"/>
              <a:gd name="connsiteX58" fmla="*/ 3009558 w 5741575"/>
              <a:gd name="connsiteY58" fmla="*/ 370573 h 955271"/>
              <a:gd name="connsiteX59" fmla="*/ 3095010 w 5741575"/>
              <a:gd name="connsiteY59" fmla="*/ 332454 h 955271"/>
              <a:gd name="connsiteX60" fmla="*/ 3103742 w 5741575"/>
              <a:gd name="connsiteY60" fmla="*/ 337974 h 955271"/>
              <a:gd name="connsiteX61" fmla="*/ 3165093 w 5741575"/>
              <a:gd name="connsiteY61" fmla="*/ 329459 h 955271"/>
              <a:gd name="connsiteX62" fmla="*/ 3373785 w 5741575"/>
              <a:gd name="connsiteY62" fmla="*/ 255680 h 955271"/>
              <a:gd name="connsiteX63" fmla="*/ 3493851 w 5741575"/>
              <a:gd name="connsiteY63" fmla="*/ 240255 h 955271"/>
              <a:gd name="connsiteX64" fmla="*/ 3537470 w 5741575"/>
              <a:gd name="connsiteY64" fmla="*/ 241867 h 955271"/>
              <a:gd name="connsiteX65" fmla="*/ 3610489 w 5741575"/>
              <a:gd name="connsiteY65" fmla="*/ 244128 h 955271"/>
              <a:gd name="connsiteX66" fmla="*/ 3667539 w 5741575"/>
              <a:gd name="connsiteY66" fmla="*/ 263271 h 955271"/>
              <a:gd name="connsiteX67" fmla="*/ 3727614 w 5741575"/>
              <a:gd name="connsiteY67" fmla="*/ 258245 h 955271"/>
              <a:gd name="connsiteX68" fmla="*/ 3738369 w 5741575"/>
              <a:gd name="connsiteY68" fmla="*/ 234506 h 955271"/>
              <a:gd name="connsiteX69" fmla="*/ 3803670 w 5741575"/>
              <a:gd name="connsiteY69" fmla="*/ 236457 h 955271"/>
              <a:gd name="connsiteX70" fmla="*/ 3903080 w 5741575"/>
              <a:gd name="connsiteY70" fmla="*/ 241890 h 955271"/>
              <a:gd name="connsiteX71" fmla="*/ 4114838 w 5741575"/>
              <a:gd name="connsiteY71" fmla="*/ 238165 h 955271"/>
              <a:gd name="connsiteX72" fmla="*/ 4271023 w 5741575"/>
              <a:gd name="connsiteY72" fmla="*/ 241959 h 955271"/>
              <a:gd name="connsiteX73" fmla="*/ 4367397 w 5741575"/>
              <a:gd name="connsiteY73" fmla="*/ 271442 h 955271"/>
              <a:gd name="connsiteX74" fmla="*/ 4495366 w 5741575"/>
              <a:gd name="connsiteY74" fmla="*/ 271618 h 955271"/>
              <a:gd name="connsiteX75" fmla="*/ 4517347 w 5741575"/>
              <a:gd name="connsiteY75" fmla="*/ 275639 h 955271"/>
              <a:gd name="connsiteX76" fmla="*/ 4546116 w 5741575"/>
              <a:gd name="connsiteY76" fmla="*/ 268568 h 955271"/>
              <a:gd name="connsiteX77" fmla="*/ 4661259 w 5741575"/>
              <a:gd name="connsiteY77" fmla="*/ 238966 h 955271"/>
              <a:gd name="connsiteX78" fmla="*/ 4750403 w 5741575"/>
              <a:gd name="connsiteY78" fmla="*/ 204364 h 955271"/>
              <a:gd name="connsiteX79" fmla="*/ 4867614 w 5741575"/>
              <a:gd name="connsiteY79" fmla="*/ 208668 h 955271"/>
              <a:gd name="connsiteX80" fmla="*/ 4937036 w 5741575"/>
              <a:gd name="connsiteY80" fmla="*/ 195446 h 955271"/>
              <a:gd name="connsiteX81" fmla="*/ 5047626 w 5741575"/>
              <a:gd name="connsiteY81" fmla="*/ 149604 h 955271"/>
              <a:gd name="connsiteX82" fmla="*/ 5200247 w 5741575"/>
              <a:gd name="connsiteY82" fmla="*/ 142695 h 955271"/>
              <a:gd name="connsiteX83" fmla="*/ 5235691 w 5741575"/>
              <a:gd name="connsiteY83" fmla="*/ 173330 h 955271"/>
              <a:gd name="connsiteX84" fmla="*/ 5280133 w 5741575"/>
              <a:gd name="connsiteY84" fmla="*/ 189342 h 955271"/>
              <a:gd name="connsiteX85" fmla="*/ 5291963 w 5741575"/>
              <a:gd name="connsiteY85" fmla="*/ 139446 h 955271"/>
              <a:gd name="connsiteX86" fmla="*/ 5418472 w 5741575"/>
              <a:gd name="connsiteY86" fmla="*/ 89163 h 955271"/>
              <a:gd name="connsiteX87" fmla="*/ 5482354 w 5741575"/>
              <a:gd name="connsiteY87" fmla="*/ 69470 h 955271"/>
              <a:gd name="connsiteX88" fmla="*/ 5583280 w 5741575"/>
              <a:gd name="connsiteY88" fmla="*/ 49787 h 955271"/>
              <a:gd name="connsiteX89" fmla="*/ 5613766 w 5741575"/>
              <a:gd name="connsiteY89" fmla="*/ 41855 h 955271"/>
              <a:gd name="connsiteX90" fmla="*/ 5684952 w 5741575"/>
              <a:gd name="connsiteY90" fmla="*/ 26088 h 955271"/>
              <a:gd name="connsiteX91" fmla="*/ 5741575 w 5741575"/>
              <a:gd name="connsiteY91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39115 w 5741575"/>
              <a:gd name="connsiteY7" fmla="*/ 949326 h 955271"/>
              <a:gd name="connsiteX8" fmla="*/ 93851 w 5741575"/>
              <a:gd name="connsiteY8" fmla="*/ 945611 h 955271"/>
              <a:gd name="connsiteX9" fmla="*/ 148657 w 5741575"/>
              <a:gd name="connsiteY9" fmla="*/ 898134 h 955271"/>
              <a:gd name="connsiteX10" fmla="*/ 174554 w 5741575"/>
              <a:gd name="connsiteY10" fmla="*/ 886351 h 955271"/>
              <a:gd name="connsiteX11" fmla="*/ 187633 w 5741575"/>
              <a:gd name="connsiteY11" fmla="*/ 878226 h 955271"/>
              <a:gd name="connsiteX12" fmla="*/ 187961 w 5741575"/>
              <a:gd name="connsiteY12" fmla="*/ 876538 h 955271"/>
              <a:gd name="connsiteX13" fmla="*/ 240501 w 5741575"/>
              <a:gd name="connsiteY13" fmla="*/ 873150 h 955271"/>
              <a:gd name="connsiteX14" fmla="*/ 246345 w 5741575"/>
              <a:gd name="connsiteY14" fmla="*/ 869942 h 955271"/>
              <a:gd name="connsiteX15" fmla="*/ 282041 w 5741575"/>
              <a:gd name="connsiteY15" fmla="*/ 871263 h 955271"/>
              <a:gd name="connsiteX16" fmla="*/ 299711 w 5741575"/>
              <a:gd name="connsiteY16" fmla="*/ 870064 h 955271"/>
              <a:gd name="connsiteX17" fmla="*/ 306299 w 5741575"/>
              <a:gd name="connsiteY17" fmla="*/ 873609 h 955271"/>
              <a:gd name="connsiteX18" fmla="*/ 331571 w 5741575"/>
              <a:gd name="connsiteY18" fmla="*/ 869866 h 955271"/>
              <a:gd name="connsiteX19" fmla="*/ 384157 w 5741575"/>
              <a:gd name="connsiteY19" fmla="*/ 867971 h 955271"/>
              <a:gd name="connsiteX20" fmla="*/ 477637 w 5741575"/>
              <a:gd name="connsiteY20" fmla="*/ 870334 h 955271"/>
              <a:gd name="connsiteX21" fmla="*/ 570239 w 5741575"/>
              <a:gd name="connsiteY21" fmla="*/ 829596 h 955271"/>
              <a:gd name="connsiteX22" fmla="*/ 787156 w 5741575"/>
              <a:gd name="connsiteY22" fmla="*/ 838447 h 955271"/>
              <a:gd name="connsiteX23" fmla="*/ 948872 w 5741575"/>
              <a:gd name="connsiteY23" fmla="*/ 772201 h 955271"/>
              <a:gd name="connsiteX24" fmla="*/ 1127089 w 5741575"/>
              <a:gd name="connsiteY24" fmla="*/ 746926 h 955271"/>
              <a:gd name="connsiteX25" fmla="*/ 1220426 w 5741575"/>
              <a:gd name="connsiteY25" fmla="*/ 721810 h 955271"/>
              <a:gd name="connsiteX26" fmla="*/ 1306771 w 5741575"/>
              <a:gd name="connsiteY26" fmla="*/ 717936 h 955271"/>
              <a:gd name="connsiteX27" fmla="*/ 1374314 w 5741575"/>
              <a:gd name="connsiteY27" fmla="*/ 688815 h 955271"/>
              <a:gd name="connsiteX28" fmla="*/ 1378034 w 5741575"/>
              <a:gd name="connsiteY28" fmla="*/ 685842 h 955271"/>
              <a:gd name="connsiteX29" fmla="*/ 1395604 w 5741575"/>
              <a:gd name="connsiteY29" fmla="*/ 680460 h 955271"/>
              <a:gd name="connsiteX30" fmla="*/ 1397206 w 5741575"/>
              <a:gd name="connsiteY30" fmla="*/ 670793 h 955271"/>
              <a:gd name="connsiteX31" fmla="*/ 1421250 w 5741575"/>
              <a:gd name="connsiteY31" fmla="*/ 656855 h 955271"/>
              <a:gd name="connsiteX32" fmla="*/ 1454524 w 5741575"/>
              <a:gd name="connsiteY32" fmla="*/ 649224 h 955271"/>
              <a:gd name="connsiteX33" fmla="*/ 1616217 w 5741575"/>
              <a:gd name="connsiteY33" fmla="*/ 622107 h 955271"/>
              <a:gd name="connsiteX34" fmla="*/ 1710928 w 5741575"/>
              <a:gd name="connsiteY34" fmla="*/ 600666 h 955271"/>
              <a:gd name="connsiteX35" fmla="*/ 1743718 w 5741575"/>
              <a:gd name="connsiteY35" fmla="*/ 584327 h 955271"/>
              <a:gd name="connsiteX36" fmla="*/ 1873778 w 5741575"/>
              <a:gd name="connsiteY36" fmla="*/ 530130 h 955271"/>
              <a:gd name="connsiteX37" fmla="*/ 1988411 w 5741575"/>
              <a:gd name="connsiteY37" fmla="*/ 491599 h 955271"/>
              <a:gd name="connsiteX38" fmla="*/ 2085507 w 5741575"/>
              <a:gd name="connsiteY38" fmla="*/ 498527 h 955271"/>
              <a:gd name="connsiteX39" fmla="*/ 2090767 w 5741575"/>
              <a:gd name="connsiteY39" fmla="*/ 490616 h 955271"/>
              <a:gd name="connsiteX40" fmla="*/ 2151143 w 5741575"/>
              <a:gd name="connsiteY40" fmla="*/ 478332 h 955271"/>
              <a:gd name="connsiteX41" fmla="*/ 2378710 w 5741575"/>
              <a:gd name="connsiteY41" fmla="*/ 477570 h 955271"/>
              <a:gd name="connsiteX42" fmla="*/ 2496256 w 5741575"/>
              <a:gd name="connsiteY42" fmla="*/ 452396 h 955271"/>
              <a:gd name="connsiteX43" fmla="*/ 2535387 w 5741575"/>
              <a:gd name="connsiteY43" fmla="*/ 436645 h 955271"/>
              <a:gd name="connsiteX44" fmla="*/ 2601109 w 5741575"/>
              <a:gd name="connsiteY44" fmla="*/ 410678 h 955271"/>
              <a:gd name="connsiteX45" fmla="*/ 2643855 w 5741575"/>
              <a:gd name="connsiteY45" fmla="*/ 374482 h 955271"/>
              <a:gd name="connsiteX46" fmla="*/ 2657726 w 5741575"/>
              <a:gd name="connsiteY46" fmla="*/ 365841 h 955271"/>
              <a:gd name="connsiteX47" fmla="*/ 2687125 w 5741575"/>
              <a:gd name="connsiteY47" fmla="*/ 366820 h 955271"/>
              <a:gd name="connsiteX48" fmla="*/ 2697479 w 5741575"/>
              <a:gd name="connsiteY48" fmla="*/ 361430 h 955271"/>
              <a:gd name="connsiteX49" fmla="*/ 2701547 w 5741575"/>
              <a:gd name="connsiteY49" fmla="*/ 361545 h 955271"/>
              <a:gd name="connsiteX50" fmla="*/ 2711054 w 5741575"/>
              <a:gd name="connsiteY50" fmla="*/ 360597 h 955271"/>
              <a:gd name="connsiteX51" fmla="*/ 2710438 w 5741575"/>
              <a:gd name="connsiteY51" fmla="*/ 366958 h 955271"/>
              <a:gd name="connsiteX52" fmla="*/ 2722936 w 5741575"/>
              <a:gd name="connsiteY52" fmla="*/ 377633 h 955271"/>
              <a:gd name="connsiteX53" fmla="*/ 2777227 w 5741575"/>
              <a:gd name="connsiteY53" fmla="*/ 368972 h 955271"/>
              <a:gd name="connsiteX54" fmla="*/ 2779510 w 5741575"/>
              <a:gd name="connsiteY54" fmla="*/ 361652 h 955271"/>
              <a:gd name="connsiteX55" fmla="*/ 2786278 w 5741575"/>
              <a:gd name="connsiteY55" fmla="*/ 359869 h 955271"/>
              <a:gd name="connsiteX56" fmla="*/ 2792101 w 5741575"/>
              <a:gd name="connsiteY56" fmla="*/ 365927 h 955271"/>
              <a:gd name="connsiteX57" fmla="*/ 2885545 w 5741575"/>
              <a:gd name="connsiteY57" fmla="*/ 372818 h 955271"/>
              <a:gd name="connsiteX58" fmla="*/ 3009558 w 5741575"/>
              <a:gd name="connsiteY58" fmla="*/ 370573 h 955271"/>
              <a:gd name="connsiteX59" fmla="*/ 3095010 w 5741575"/>
              <a:gd name="connsiteY59" fmla="*/ 332454 h 955271"/>
              <a:gd name="connsiteX60" fmla="*/ 3103742 w 5741575"/>
              <a:gd name="connsiteY60" fmla="*/ 337974 h 955271"/>
              <a:gd name="connsiteX61" fmla="*/ 3165093 w 5741575"/>
              <a:gd name="connsiteY61" fmla="*/ 329459 h 955271"/>
              <a:gd name="connsiteX62" fmla="*/ 3373785 w 5741575"/>
              <a:gd name="connsiteY62" fmla="*/ 255680 h 955271"/>
              <a:gd name="connsiteX63" fmla="*/ 3493851 w 5741575"/>
              <a:gd name="connsiteY63" fmla="*/ 240255 h 955271"/>
              <a:gd name="connsiteX64" fmla="*/ 3537470 w 5741575"/>
              <a:gd name="connsiteY64" fmla="*/ 241867 h 955271"/>
              <a:gd name="connsiteX65" fmla="*/ 3610489 w 5741575"/>
              <a:gd name="connsiteY65" fmla="*/ 244128 h 955271"/>
              <a:gd name="connsiteX66" fmla="*/ 3667539 w 5741575"/>
              <a:gd name="connsiteY66" fmla="*/ 263271 h 955271"/>
              <a:gd name="connsiteX67" fmla="*/ 3727614 w 5741575"/>
              <a:gd name="connsiteY67" fmla="*/ 258245 h 955271"/>
              <a:gd name="connsiteX68" fmla="*/ 3738369 w 5741575"/>
              <a:gd name="connsiteY68" fmla="*/ 234506 h 955271"/>
              <a:gd name="connsiteX69" fmla="*/ 3803670 w 5741575"/>
              <a:gd name="connsiteY69" fmla="*/ 236457 h 955271"/>
              <a:gd name="connsiteX70" fmla="*/ 3903080 w 5741575"/>
              <a:gd name="connsiteY70" fmla="*/ 241890 h 955271"/>
              <a:gd name="connsiteX71" fmla="*/ 4114838 w 5741575"/>
              <a:gd name="connsiteY71" fmla="*/ 238165 h 955271"/>
              <a:gd name="connsiteX72" fmla="*/ 4271023 w 5741575"/>
              <a:gd name="connsiteY72" fmla="*/ 241959 h 955271"/>
              <a:gd name="connsiteX73" fmla="*/ 4367397 w 5741575"/>
              <a:gd name="connsiteY73" fmla="*/ 271442 h 955271"/>
              <a:gd name="connsiteX74" fmla="*/ 4495366 w 5741575"/>
              <a:gd name="connsiteY74" fmla="*/ 271618 h 955271"/>
              <a:gd name="connsiteX75" fmla="*/ 4517347 w 5741575"/>
              <a:gd name="connsiteY75" fmla="*/ 275639 h 955271"/>
              <a:gd name="connsiteX76" fmla="*/ 4546116 w 5741575"/>
              <a:gd name="connsiteY76" fmla="*/ 268568 h 955271"/>
              <a:gd name="connsiteX77" fmla="*/ 4661259 w 5741575"/>
              <a:gd name="connsiteY77" fmla="*/ 238966 h 955271"/>
              <a:gd name="connsiteX78" fmla="*/ 4750403 w 5741575"/>
              <a:gd name="connsiteY78" fmla="*/ 204364 h 955271"/>
              <a:gd name="connsiteX79" fmla="*/ 4867614 w 5741575"/>
              <a:gd name="connsiteY79" fmla="*/ 208668 h 955271"/>
              <a:gd name="connsiteX80" fmla="*/ 4937036 w 5741575"/>
              <a:gd name="connsiteY80" fmla="*/ 195446 h 955271"/>
              <a:gd name="connsiteX81" fmla="*/ 5047626 w 5741575"/>
              <a:gd name="connsiteY81" fmla="*/ 149604 h 955271"/>
              <a:gd name="connsiteX82" fmla="*/ 5200247 w 5741575"/>
              <a:gd name="connsiteY82" fmla="*/ 142695 h 955271"/>
              <a:gd name="connsiteX83" fmla="*/ 5235691 w 5741575"/>
              <a:gd name="connsiteY83" fmla="*/ 173330 h 955271"/>
              <a:gd name="connsiteX84" fmla="*/ 5280133 w 5741575"/>
              <a:gd name="connsiteY84" fmla="*/ 189342 h 955271"/>
              <a:gd name="connsiteX85" fmla="*/ 5291963 w 5741575"/>
              <a:gd name="connsiteY85" fmla="*/ 139446 h 955271"/>
              <a:gd name="connsiteX86" fmla="*/ 5418472 w 5741575"/>
              <a:gd name="connsiteY86" fmla="*/ 89163 h 955271"/>
              <a:gd name="connsiteX87" fmla="*/ 5482354 w 5741575"/>
              <a:gd name="connsiteY87" fmla="*/ 69470 h 955271"/>
              <a:gd name="connsiteX88" fmla="*/ 5583280 w 5741575"/>
              <a:gd name="connsiteY88" fmla="*/ 49787 h 955271"/>
              <a:gd name="connsiteX89" fmla="*/ 5613766 w 5741575"/>
              <a:gd name="connsiteY89" fmla="*/ 41855 h 955271"/>
              <a:gd name="connsiteX90" fmla="*/ 5684952 w 5741575"/>
              <a:gd name="connsiteY90" fmla="*/ 26088 h 955271"/>
              <a:gd name="connsiteX91" fmla="*/ 5741575 w 5741575"/>
              <a:gd name="connsiteY91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39115 w 5741575"/>
              <a:gd name="connsiteY7" fmla="*/ 949326 h 955271"/>
              <a:gd name="connsiteX8" fmla="*/ 93851 w 5741575"/>
              <a:gd name="connsiteY8" fmla="*/ 945611 h 955271"/>
              <a:gd name="connsiteX9" fmla="*/ 148657 w 5741575"/>
              <a:gd name="connsiteY9" fmla="*/ 898134 h 955271"/>
              <a:gd name="connsiteX10" fmla="*/ 174554 w 5741575"/>
              <a:gd name="connsiteY10" fmla="*/ 886351 h 955271"/>
              <a:gd name="connsiteX11" fmla="*/ 187633 w 5741575"/>
              <a:gd name="connsiteY11" fmla="*/ 878226 h 955271"/>
              <a:gd name="connsiteX12" fmla="*/ 187961 w 5741575"/>
              <a:gd name="connsiteY12" fmla="*/ 876538 h 955271"/>
              <a:gd name="connsiteX13" fmla="*/ 240501 w 5741575"/>
              <a:gd name="connsiteY13" fmla="*/ 873150 h 955271"/>
              <a:gd name="connsiteX14" fmla="*/ 246345 w 5741575"/>
              <a:gd name="connsiteY14" fmla="*/ 869942 h 955271"/>
              <a:gd name="connsiteX15" fmla="*/ 282041 w 5741575"/>
              <a:gd name="connsiteY15" fmla="*/ 871263 h 955271"/>
              <a:gd name="connsiteX16" fmla="*/ 306299 w 5741575"/>
              <a:gd name="connsiteY16" fmla="*/ 873609 h 955271"/>
              <a:gd name="connsiteX17" fmla="*/ 331571 w 5741575"/>
              <a:gd name="connsiteY17" fmla="*/ 869866 h 955271"/>
              <a:gd name="connsiteX18" fmla="*/ 384157 w 5741575"/>
              <a:gd name="connsiteY18" fmla="*/ 867971 h 955271"/>
              <a:gd name="connsiteX19" fmla="*/ 477637 w 5741575"/>
              <a:gd name="connsiteY19" fmla="*/ 870334 h 955271"/>
              <a:gd name="connsiteX20" fmla="*/ 570239 w 5741575"/>
              <a:gd name="connsiteY20" fmla="*/ 829596 h 955271"/>
              <a:gd name="connsiteX21" fmla="*/ 787156 w 5741575"/>
              <a:gd name="connsiteY21" fmla="*/ 838447 h 955271"/>
              <a:gd name="connsiteX22" fmla="*/ 948872 w 5741575"/>
              <a:gd name="connsiteY22" fmla="*/ 772201 h 955271"/>
              <a:gd name="connsiteX23" fmla="*/ 1127089 w 5741575"/>
              <a:gd name="connsiteY23" fmla="*/ 746926 h 955271"/>
              <a:gd name="connsiteX24" fmla="*/ 1220426 w 5741575"/>
              <a:gd name="connsiteY24" fmla="*/ 721810 h 955271"/>
              <a:gd name="connsiteX25" fmla="*/ 1306771 w 5741575"/>
              <a:gd name="connsiteY25" fmla="*/ 717936 h 955271"/>
              <a:gd name="connsiteX26" fmla="*/ 1374314 w 5741575"/>
              <a:gd name="connsiteY26" fmla="*/ 688815 h 955271"/>
              <a:gd name="connsiteX27" fmla="*/ 1378034 w 5741575"/>
              <a:gd name="connsiteY27" fmla="*/ 685842 h 955271"/>
              <a:gd name="connsiteX28" fmla="*/ 1395604 w 5741575"/>
              <a:gd name="connsiteY28" fmla="*/ 680460 h 955271"/>
              <a:gd name="connsiteX29" fmla="*/ 1397206 w 5741575"/>
              <a:gd name="connsiteY29" fmla="*/ 670793 h 955271"/>
              <a:gd name="connsiteX30" fmla="*/ 1421250 w 5741575"/>
              <a:gd name="connsiteY30" fmla="*/ 656855 h 955271"/>
              <a:gd name="connsiteX31" fmla="*/ 1454524 w 5741575"/>
              <a:gd name="connsiteY31" fmla="*/ 649224 h 955271"/>
              <a:gd name="connsiteX32" fmla="*/ 1616217 w 5741575"/>
              <a:gd name="connsiteY32" fmla="*/ 622107 h 955271"/>
              <a:gd name="connsiteX33" fmla="*/ 1710928 w 5741575"/>
              <a:gd name="connsiteY33" fmla="*/ 600666 h 955271"/>
              <a:gd name="connsiteX34" fmla="*/ 1743718 w 5741575"/>
              <a:gd name="connsiteY34" fmla="*/ 584327 h 955271"/>
              <a:gd name="connsiteX35" fmla="*/ 1873778 w 5741575"/>
              <a:gd name="connsiteY35" fmla="*/ 530130 h 955271"/>
              <a:gd name="connsiteX36" fmla="*/ 1988411 w 5741575"/>
              <a:gd name="connsiteY36" fmla="*/ 491599 h 955271"/>
              <a:gd name="connsiteX37" fmla="*/ 2085507 w 5741575"/>
              <a:gd name="connsiteY37" fmla="*/ 498527 h 955271"/>
              <a:gd name="connsiteX38" fmla="*/ 2090767 w 5741575"/>
              <a:gd name="connsiteY38" fmla="*/ 490616 h 955271"/>
              <a:gd name="connsiteX39" fmla="*/ 2151143 w 5741575"/>
              <a:gd name="connsiteY39" fmla="*/ 478332 h 955271"/>
              <a:gd name="connsiteX40" fmla="*/ 2378710 w 5741575"/>
              <a:gd name="connsiteY40" fmla="*/ 477570 h 955271"/>
              <a:gd name="connsiteX41" fmla="*/ 2496256 w 5741575"/>
              <a:gd name="connsiteY41" fmla="*/ 452396 h 955271"/>
              <a:gd name="connsiteX42" fmla="*/ 2535387 w 5741575"/>
              <a:gd name="connsiteY42" fmla="*/ 436645 h 955271"/>
              <a:gd name="connsiteX43" fmla="*/ 2601109 w 5741575"/>
              <a:gd name="connsiteY43" fmla="*/ 410678 h 955271"/>
              <a:gd name="connsiteX44" fmla="*/ 2643855 w 5741575"/>
              <a:gd name="connsiteY44" fmla="*/ 374482 h 955271"/>
              <a:gd name="connsiteX45" fmla="*/ 2657726 w 5741575"/>
              <a:gd name="connsiteY45" fmla="*/ 365841 h 955271"/>
              <a:gd name="connsiteX46" fmla="*/ 2687125 w 5741575"/>
              <a:gd name="connsiteY46" fmla="*/ 366820 h 955271"/>
              <a:gd name="connsiteX47" fmla="*/ 2697479 w 5741575"/>
              <a:gd name="connsiteY47" fmla="*/ 361430 h 955271"/>
              <a:gd name="connsiteX48" fmla="*/ 2701547 w 5741575"/>
              <a:gd name="connsiteY48" fmla="*/ 361545 h 955271"/>
              <a:gd name="connsiteX49" fmla="*/ 2711054 w 5741575"/>
              <a:gd name="connsiteY49" fmla="*/ 360597 h 955271"/>
              <a:gd name="connsiteX50" fmla="*/ 2710438 w 5741575"/>
              <a:gd name="connsiteY50" fmla="*/ 366958 h 955271"/>
              <a:gd name="connsiteX51" fmla="*/ 2722936 w 5741575"/>
              <a:gd name="connsiteY51" fmla="*/ 377633 h 955271"/>
              <a:gd name="connsiteX52" fmla="*/ 2777227 w 5741575"/>
              <a:gd name="connsiteY52" fmla="*/ 368972 h 955271"/>
              <a:gd name="connsiteX53" fmla="*/ 2779510 w 5741575"/>
              <a:gd name="connsiteY53" fmla="*/ 361652 h 955271"/>
              <a:gd name="connsiteX54" fmla="*/ 2786278 w 5741575"/>
              <a:gd name="connsiteY54" fmla="*/ 359869 h 955271"/>
              <a:gd name="connsiteX55" fmla="*/ 2792101 w 5741575"/>
              <a:gd name="connsiteY55" fmla="*/ 365927 h 955271"/>
              <a:gd name="connsiteX56" fmla="*/ 2885545 w 5741575"/>
              <a:gd name="connsiteY56" fmla="*/ 372818 h 955271"/>
              <a:gd name="connsiteX57" fmla="*/ 3009558 w 5741575"/>
              <a:gd name="connsiteY57" fmla="*/ 370573 h 955271"/>
              <a:gd name="connsiteX58" fmla="*/ 3095010 w 5741575"/>
              <a:gd name="connsiteY58" fmla="*/ 332454 h 955271"/>
              <a:gd name="connsiteX59" fmla="*/ 3103742 w 5741575"/>
              <a:gd name="connsiteY59" fmla="*/ 337974 h 955271"/>
              <a:gd name="connsiteX60" fmla="*/ 3165093 w 5741575"/>
              <a:gd name="connsiteY60" fmla="*/ 329459 h 955271"/>
              <a:gd name="connsiteX61" fmla="*/ 3373785 w 5741575"/>
              <a:gd name="connsiteY61" fmla="*/ 255680 h 955271"/>
              <a:gd name="connsiteX62" fmla="*/ 3493851 w 5741575"/>
              <a:gd name="connsiteY62" fmla="*/ 240255 h 955271"/>
              <a:gd name="connsiteX63" fmla="*/ 3537470 w 5741575"/>
              <a:gd name="connsiteY63" fmla="*/ 241867 h 955271"/>
              <a:gd name="connsiteX64" fmla="*/ 3610489 w 5741575"/>
              <a:gd name="connsiteY64" fmla="*/ 244128 h 955271"/>
              <a:gd name="connsiteX65" fmla="*/ 3667539 w 5741575"/>
              <a:gd name="connsiteY65" fmla="*/ 263271 h 955271"/>
              <a:gd name="connsiteX66" fmla="*/ 3727614 w 5741575"/>
              <a:gd name="connsiteY66" fmla="*/ 258245 h 955271"/>
              <a:gd name="connsiteX67" fmla="*/ 3738369 w 5741575"/>
              <a:gd name="connsiteY67" fmla="*/ 234506 h 955271"/>
              <a:gd name="connsiteX68" fmla="*/ 3803670 w 5741575"/>
              <a:gd name="connsiteY68" fmla="*/ 236457 h 955271"/>
              <a:gd name="connsiteX69" fmla="*/ 3903080 w 5741575"/>
              <a:gd name="connsiteY69" fmla="*/ 241890 h 955271"/>
              <a:gd name="connsiteX70" fmla="*/ 4114838 w 5741575"/>
              <a:gd name="connsiteY70" fmla="*/ 238165 h 955271"/>
              <a:gd name="connsiteX71" fmla="*/ 4271023 w 5741575"/>
              <a:gd name="connsiteY71" fmla="*/ 241959 h 955271"/>
              <a:gd name="connsiteX72" fmla="*/ 4367397 w 5741575"/>
              <a:gd name="connsiteY72" fmla="*/ 271442 h 955271"/>
              <a:gd name="connsiteX73" fmla="*/ 4495366 w 5741575"/>
              <a:gd name="connsiteY73" fmla="*/ 271618 h 955271"/>
              <a:gd name="connsiteX74" fmla="*/ 4517347 w 5741575"/>
              <a:gd name="connsiteY74" fmla="*/ 275639 h 955271"/>
              <a:gd name="connsiteX75" fmla="*/ 4546116 w 5741575"/>
              <a:gd name="connsiteY75" fmla="*/ 268568 h 955271"/>
              <a:gd name="connsiteX76" fmla="*/ 4661259 w 5741575"/>
              <a:gd name="connsiteY76" fmla="*/ 238966 h 955271"/>
              <a:gd name="connsiteX77" fmla="*/ 4750403 w 5741575"/>
              <a:gd name="connsiteY77" fmla="*/ 204364 h 955271"/>
              <a:gd name="connsiteX78" fmla="*/ 4867614 w 5741575"/>
              <a:gd name="connsiteY78" fmla="*/ 208668 h 955271"/>
              <a:gd name="connsiteX79" fmla="*/ 4937036 w 5741575"/>
              <a:gd name="connsiteY79" fmla="*/ 195446 h 955271"/>
              <a:gd name="connsiteX80" fmla="*/ 5047626 w 5741575"/>
              <a:gd name="connsiteY80" fmla="*/ 149604 h 955271"/>
              <a:gd name="connsiteX81" fmla="*/ 5200247 w 5741575"/>
              <a:gd name="connsiteY81" fmla="*/ 142695 h 955271"/>
              <a:gd name="connsiteX82" fmla="*/ 5235691 w 5741575"/>
              <a:gd name="connsiteY82" fmla="*/ 173330 h 955271"/>
              <a:gd name="connsiteX83" fmla="*/ 5280133 w 5741575"/>
              <a:gd name="connsiteY83" fmla="*/ 189342 h 955271"/>
              <a:gd name="connsiteX84" fmla="*/ 5291963 w 5741575"/>
              <a:gd name="connsiteY84" fmla="*/ 139446 h 955271"/>
              <a:gd name="connsiteX85" fmla="*/ 5418472 w 5741575"/>
              <a:gd name="connsiteY85" fmla="*/ 89163 h 955271"/>
              <a:gd name="connsiteX86" fmla="*/ 5482354 w 5741575"/>
              <a:gd name="connsiteY86" fmla="*/ 69470 h 955271"/>
              <a:gd name="connsiteX87" fmla="*/ 5583280 w 5741575"/>
              <a:gd name="connsiteY87" fmla="*/ 49787 h 955271"/>
              <a:gd name="connsiteX88" fmla="*/ 5613766 w 5741575"/>
              <a:gd name="connsiteY88" fmla="*/ 41855 h 955271"/>
              <a:gd name="connsiteX89" fmla="*/ 5684952 w 5741575"/>
              <a:gd name="connsiteY89" fmla="*/ 26088 h 955271"/>
              <a:gd name="connsiteX90" fmla="*/ 5741575 w 5741575"/>
              <a:gd name="connsiteY90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39115 w 5741575"/>
              <a:gd name="connsiteY7" fmla="*/ 949326 h 955271"/>
              <a:gd name="connsiteX8" fmla="*/ 93851 w 5741575"/>
              <a:gd name="connsiteY8" fmla="*/ 945611 h 955271"/>
              <a:gd name="connsiteX9" fmla="*/ 148657 w 5741575"/>
              <a:gd name="connsiteY9" fmla="*/ 898134 h 955271"/>
              <a:gd name="connsiteX10" fmla="*/ 174554 w 5741575"/>
              <a:gd name="connsiteY10" fmla="*/ 886351 h 955271"/>
              <a:gd name="connsiteX11" fmla="*/ 187633 w 5741575"/>
              <a:gd name="connsiteY11" fmla="*/ 878226 h 955271"/>
              <a:gd name="connsiteX12" fmla="*/ 187961 w 5741575"/>
              <a:gd name="connsiteY12" fmla="*/ 876538 h 955271"/>
              <a:gd name="connsiteX13" fmla="*/ 240501 w 5741575"/>
              <a:gd name="connsiteY13" fmla="*/ 873150 h 955271"/>
              <a:gd name="connsiteX14" fmla="*/ 246345 w 5741575"/>
              <a:gd name="connsiteY14" fmla="*/ 869942 h 955271"/>
              <a:gd name="connsiteX15" fmla="*/ 306299 w 5741575"/>
              <a:gd name="connsiteY15" fmla="*/ 873609 h 955271"/>
              <a:gd name="connsiteX16" fmla="*/ 331571 w 5741575"/>
              <a:gd name="connsiteY16" fmla="*/ 869866 h 955271"/>
              <a:gd name="connsiteX17" fmla="*/ 384157 w 5741575"/>
              <a:gd name="connsiteY17" fmla="*/ 867971 h 955271"/>
              <a:gd name="connsiteX18" fmla="*/ 477637 w 5741575"/>
              <a:gd name="connsiteY18" fmla="*/ 870334 h 955271"/>
              <a:gd name="connsiteX19" fmla="*/ 570239 w 5741575"/>
              <a:gd name="connsiteY19" fmla="*/ 829596 h 955271"/>
              <a:gd name="connsiteX20" fmla="*/ 787156 w 5741575"/>
              <a:gd name="connsiteY20" fmla="*/ 838447 h 955271"/>
              <a:gd name="connsiteX21" fmla="*/ 948872 w 5741575"/>
              <a:gd name="connsiteY21" fmla="*/ 772201 h 955271"/>
              <a:gd name="connsiteX22" fmla="*/ 1127089 w 5741575"/>
              <a:gd name="connsiteY22" fmla="*/ 746926 h 955271"/>
              <a:gd name="connsiteX23" fmla="*/ 1220426 w 5741575"/>
              <a:gd name="connsiteY23" fmla="*/ 721810 h 955271"/>
              <a:gd name="connsiteX24" fmla="*/ 1306771 w 5741575"/>
              <a:gd name="connsiteY24" fmla="*/ 717936 h 955271"/>
              <a:gd name="connsiteX25" fmla="*/ 1374314 w 5741575"/>
              <a:gd name="connsiteY25" fmla="*/ 688815 h 955271"/>
              <a:gd name="connsiteX26" fmla="*/ 1378034 w 5741575"/>
              <a:gd name="connsiteY26" fmla="*/ 685842 h 955271"/>
              <a:gd name="connsiteX27" fmla="*/ 1395604 w 5741575"/>
              <a:gd name="connsiteY27" fmla="*/ 680460 h 955271"/>
              <a:gd name="connsiteX28" fmla="*/ 1397206 w 5741575"/>
              <a:gd name="connsiteY28" fmla="*/ 670793 h 955271"/>
              <a:gd name="connsiteX29" fmla="*/ 1421250 w 5741575"/>
              <a:gd name="connsiteY29" fmla="*/ 656855 h 955271"/>
              <a:gd name="connsiteX30" fmla="*/ 1454524 w 5741575"/>
              <a:gd name="connsiteY30" fmla="*/ 649224 h 955271"/>
              <a:gd name="connsiteX31" fmla="*/ 1616217 w 5741575"/>
              <a:gd name="connsiteY31" fmla="*/ 622107 h 955271"/>
              <a:gd name="connsiteX32" fmla="*/ 1710928 w 5741575"/>
              <a:gd name="connsiteY32" fmla="*/ 600666 h 955271"/>
              <a:gd name="connsiteX33" fmla="*/ 1743718 w 5741575"/>
              <a:gd name="connsiteY33" fmla="*/ 584327 h 955271"/>
              <a:gd name="connsiteX34" fmla="*/ 1873778 w 5741575"/>
              <a:gd name="connsiteY34" fmla="*/ 530130 h 955271"/>
              <a:gd name="connsiteX35" fmla="*/ 1988411 w 5741575"/>
              <a:gd name="connsiteY35" fmla="*/ 491599 h 955271"/>
              <a:gd name="connsiteX36" fmla="*/ 2085507 w 5741575"/>
              <a:gd name="connsiteY36" fmla="*/ 498527 h 955271"/>
              <a:gd name="connsiteX37" fmla="*/ 2090767 w 5741575"/>
              <a:gd name="connsiteY37" fmla="*/ 490616 h 955271"/>
              <a:gd name="connsiteX38" fmla="*/ 2151143 w 5741575"/>
              <a:gd name="connsiteY38" fmla="*/ 478332 h 955271"/>
              <a:gd name="connsiteX39" fmla="*/ 2378710 w 5741575"/>
              <a:gd name="connsiteY39" fmla="*/ 477570 h 955271"/>
              <a:gd name="connsiteX40" fmla="*/ 2496256 w 5741575"/>
              <a:gd name="connsiteY40" fmla="*/ 452396 h 955271"/>
              <a:gd name="connsiteX41" fmla="*/ 2535387 w 5741575"/>
              <a:gd name="connsiteY41" fmla="*/ 436645 h 955271"/>
              <a:gd name="connsiteX42" fmla="*/ 2601109 w 5741575"/>
              <a:gd name="connsiteY42" fmla="*/ 410678 h 955271"/>
              <a:gd name="connsiteX43" fmla="*/ 2643855 w 5741575"/>
              <a:gd name="connsiteY43" fmla="*/ 374482 h 955271"/>
              <a:gd name="connsiteX44" fmla="*/ 2657726 w 5741575"/>
              <a:gd name="connsiteY44" fmla="*/ 365841 h 955271"/>
              <a:gd name="connsiteX45" fmla="*/ 2687125 w 5741575"/>
              <a:gd name="connsiteY45" fmla="*/ 366820 h 955271"/>
              <a:gd name="connsiteX46" fmla="*/ 2697479 w 5741575"/>
              <a:gd name="connsiteY46" fmla="*/ 361430 h 955271"/>
              <a:gd name="connsiteX47" fmla="*/ 2701547 w 5741575"/>
              <a:gd name="connsiteY47" fmla="*/ 361545 h 955271"/>
              <a:gd name="connsiteX48" fmla="*/ 2711054 w 5741575"/>
              <a:gd name="connsiteY48" fmla="*/ 360597 h 955271"/>
              <a:gd name="connsiteX49" fmla="*/ 2710438 w 5741575"/>
              <a:gd name="connsiteY49" fmla="*/ 366958 h 955271"/>
              <a:gd name="connsiteX50" fmla="*/ 2722936 w 5741575"/>
              <a:gd name="connsiteY50" fmla="*/ 377633 h 955271"/>
              <a:gd name="connsiteX51" fmla="*/ 2777227 w 5741575"/>
              <a:gd name="connsiteY51" fmla="*/ 368972 h 955271"/>
              <a:gd name="connsiteX52" fmla="*/ 2779510 w 5741575"/>
              <a:gd name="connsiteY52" fmla="*/ 361652 h 955271"/>
              <a:gd name="connsiteX53" fmla="*/ 2786278 w 5741575"/>
              <a:gd name="connsiteY53" fmla="*/ 359869 h 955271"/>
              <a:gd name="connsiteX54" fmla="*/ 2792101 w 5741575"/>
              <a:gd name="connsiteY54" fmla="*/ 365927 h 955271"/>
              <a:gd name="connsiteX55" fmla="*/ 2885545 w 5741575"/>
              <a:gd name="connsiteY55" fmla="*/ 372818 h 955271"/>
              <a:gd name="connsiteX56" fmla="*/ 3009558 w 5741575"/>
              <a:gd name="connsiteY56" fmla="*/ 370573 h 955271"/>
              <a:gd name="connsiteX57" fmla="*/ 3095010 w 5741575"/>
              <a:gd name="connsiteY57" fmla="*/ 332454 h 955271"/>
              <a:gd name="connsiteX58" fmla="*/ 3103742 w 5741575"/>
              <a:gd name="connsiteY58" fmla="*/ 337974 h 955271"/>
              <a:gd name="connsiteX59" fmla="*/ 3165093 w 5741575"/>
              <a:gd name="connsiteY59" fmla="*/ 329459 h 955271"/>
              <a:gd name="connsiteX60" fmla="*/ 3373785 w 5741575"/>
              <a:gd name="connsiteY60" fmla="*/ 255680 h 955271"/>
              <a:gd name="connsiteX61" fmla="*/ 3493851 w 5741575"/>
              <a:gd name="connsiteY61" fmla="*/ 240255 h 955271"/>
              <a:gd name="connsiteX62" fmla="*/ 3537470 w 5741575"/>
              <a:gd name="connsiteY62" fmla="*/ 241867 h 955271"/>
              <a:gd name="connsiteX63" fmla="*/ 3610489 w 5741575"/>
              <a:gd name="connsiteY63" fmla="*/ 244128 h 955271"/>
              <a:gd name="connsiteX64" fmla="*/ 3667539 w 5741575"/>
              <a:gd name="connsiteY64" fmla="*/ 263271 h 955271"/>
              <a:gd name="connsiteX65" fmla="*/ 3727614 w 5741575"/>
              <a:gd name="connsiteY65" fmla="*/ 258245 h 955271"/>
              <a:gd name="connsiteX66" fmla="*/ 3738369 w 5741575"/>
              <a:gd name="connsiteY66" fmla="*/ 234506 h 955271"/>
              <a:gd name="connsiteX67" fmla="*/ 3803670 w 5741575"/>
              <a:gd name="connsiteY67" fmla="*/ 236457 h 955271"/>
              <a:gd name="connsiteX68" fmla="*/ 3903080 w 5741575"/>
              <a:gd name="connsiteY68" fmla="*/ 241890 h 955271"/>
              <a:gd name="connsiteX69" fmla="*/ 4114838 w 5741575"/>
              <a:gd name="connsiteY69" fmla="*/ 238165 h 955271"/>
              <a:gd name="connsiteX70" fmla="*/ 4271023 w 5741575"/>
              <a:gd name="connsiteY70" fmla="*/ 241959 h 955271"/>
              <a:gd name="connsiteX71" fmla="*/ 4367397 w 5741575"/>
              <a:gd name="connsiteY71" fmla="*/ 271442 h 955271"/>
              <a:gd name="connsiteX72" fmla="*/ 4495366 w 5741575"/>
              <a:gd name="connsiteY72" fmla="*/ 271618 h 955271"/>
              <a:gd name="connsiteX73" fmla="*/ 4517347 w 5741575"/>
              <a:gd name="connsiteY73" fmla="*/ 275639 h 955271"/>
              <a:gd name="connsiteX74" fmla="*/ 4546116 w 5741575"/>
              <a:gd name="connsiteY74" fmla="*/ 268568 h 955271"/>
              <a:gd name="connsiteX75" fmla="*/ 4661259 w 5741575"/>
              <a:gd name="connsiteY75" fmla="*/ 238966 h 955271"/>
              <a:gd name="connsiteX76" fmla="*/ 4750403 w 5741575"/>
              <a:gd name="connsiteY76" fmla="*/ 204364 h 955271"/>
              <a:gd name="connsiteX77" fmla="*/ 4867614 w 5741575"/>
              <a:gd name="connsiteY77" fmla="*/ 208668 h 955271"/>
              <a:gd name="connsiteX78" fmla="*/ 4937036 w 5741575"/>
              <a:gd name="connsiteY78" fmla="*/ 195446 h 955271"/>
              <a:gd name="connsiteX79" fmla="*/ 5047626 w 5741575"/>
              <a:gd name="connsiteY79" fmla="*/ 149604 h 955271"/>
              <a:gd name="connsiteX80" fmla="*/ 5200247 w 5741575"/>
              <a:gd name="connsiteY80" fmla="*/ 142695 h 955271"/>
              <a:gd name="connsiteX81" fmla="*/ 5235691 w 5741575"/>
              <a:gd name="connsiteY81" fmla="*/ 173330 h 955271"/>
              <a:gd name="connsiteX82" fmla="*/ 5280133 w 5741575"/>
              <a:gd name="connsiteY82" fmla="*/ 189342 h 955271"/>
              <a:gd name="connsiteX83" fmla="*/ 5291963 w 5741575"/>
              <a:gd name="connsiteY83" fmla="*/ 139446 h 955271"/>
              <a:gd name="connsiteX84" fmla="*/ 5418472 w 5741575"/>
              <a:gd name="connsiteY84" fmla="*/ 89163 h 955271"/>
              <a:gd name="connsiteX85" fmla="*/ 5482354 w 5741575"/>
              <a:gd name="connsiteY85" fmla="*/ 69470 h 955271"/>
              <a:gd name="connsiteX86" fmla="*/ 5583280 w 5741575"/>
              <a:gd name="connsiteY86" fmla="*/ 49787 h 955271"/>
              <a:gd name="connsiteX87" fmla="*/ 5613766 w 5741575"/>
              <a:gd name="connsiteY87" fmla="*/ 41855 h 955271"/>
              <a:gd name="connsiteX88" fmla="*/ 5684952 w 5741575"/>
              <a:gd name="connsiteY88" fmla="*/ 26088 h 955271"/>
              <a:gd name="connsiteX89" fmla="*/ 5741575 w 5741575"/>
              <a:gd name="connsiteY89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39115 w 5741575"/>
              <a:gd name="connsiteY7" fmla="*/ 949326 h 955271"/>
              <a:gd name="connsiteX8" fmla="*/ 93851 w 5741575"/>
              <a:gd name="connsiteY8" fmla="*/ 922923 h 955271"/>
              <a:gd name="connsiteX9" fmla="*/ 148657 w 5741575"/>
              <a:gd name="connsiteY9" fmla="*/ 898134 h 955271"/>
              <a:gd name="connsiteX10" fmla="*/ 174554 w 5741575"/>
              <a:gd name="connsiteY10" fmla="*/ 886351 h 955271"/>
              <a:gd name="connsiteX11" fmla="*/ 187633 w 5741575"/>
              <a:gd name="connsiteY11" fmla="*/ 878226 h 955271"/>
              <a:gd name="connsiteX12" fmla="*/ 187961 w 5741575"/>
              <a:gd name="connsiteY12" fmla="*/ 876538 h 955271"/>
              <a:gd name="connsiteX13" fmla="*/ 240501 w 5741575"/>
              <a:gd name="connsiteY13" fmla="*/ 873150 h 955271"/>
              <a:gd name="connsiteX14" fmla="*/ 246345 w 5741575"/>
              <a:gd name="connsiteY14" fmla="*/ 869942 h 955271"/>
              <a:gd name="connsiteX15" fmla="*/ 306299 w 5741575"/>
              <a:gd name="connsiteY15" fmla="*/ 873609 h 955271"/>
              <a:gd name="connsiteX16" fmla="*/ 331571 w 5741575"/>
              <a:gd name="connsiteY16" fmla="*/ 869866 h 955271"/>
              <a:gd name="connsiteX17" fmla="*/ 384157 w 5741575"/>
              <a:gd name="connsiteY17" fmla="*/ 867971 h 955271"/>
              <a:gd name="connsiteX18" fmla="*/ 477637 w 5741575"/>
              <a:gd name="connsiteY18" fmla="*/ 870334 h 955271"/>
              <a:gd name="connsiteX19" fmla="*/ 570239 w 5741575"/>
              <a:gd name="connsiteY19" fmla="*/ 829596 h 955271"/>
              <a:gd name="connsiteX20" fmla="*/ 787156 w 5741575"/>
              <a:gd name="connsiteY20" fmla="*/ 838447 h 955271"/>
              <a:gd name="connsiteX21" fmla="*/ 948872 w 5741575"/>
              <a:gd name="connsiteY21" fmla="*/ 772201 h 955271"/>
              <a:gd name="connsiteX22" fmla="*/ 1127089 w 5741575"/>
              <a:gd name="connsiteY22" fmla="*/ 746926 h 955271"/>
              <a:gd name="connsiteX23" fmla="*/ 1220426 w 5741575"/>
              <a:gd name="connsiteY23" fmla="*/ 721810 h 955271"/>
              <a:gd name="connsiteX24" fmla="*/ 1306771 w 5741575"/>
              <a:gd name="connsiteY24" fmla="*/ 717936 h 955271"/>
              <a:gd name="connsiteX25" fmla="*/ 1374314 w 5741575"/>
              <a:gd name="connsiteY25" fmla="*/ 688815 h 955271"/>
              <a:gd name="connsiteX26" fmla="*/ 1378034 w 5741575"/>
              <a:gd name="connsiteY26" fmla="*/ 685842 h 955271"/>
              <a:gd name="connsiteX27" fmla="*/ 1395604 w 5741575"/>
              <a:gd name="connsiteY27" fmla="*/ 680460 h 955271"/>
              <a:gd name="connsiteX28" fmla="*/ 1397206 w 5741575"/>
              <a:gd name="connsiteY28" fmla="*/ 670793 h 955271"/>
              <a:gd name="connsiteX29" fmla="*/ 1421250 w 5741575"/>
              <a:gd name="connsiteY29" fmla="*/ 656855 h 955271"/>
              <a:gd name="connsiteX30" fmla="*/ 1454524 w 5741575"/>
              <a:gd name="connsiteY30" fmla="*/ 649224 h 955271"/>
              <a:gd name="connsiteX31" fmla="*/ 1616217 w 5741575"/>
              <a:gd name="connsiteY31" fmla="*/ 622107 h 955271"/>
              <a:gd name="connsiteX32" fmla="*/ 1710928 w 5741575"/>
              <a:gd name="connsiteY32" fmla="*/ 600666 h 955271"/>
              <a:gd name="connsiteX33" fmla="*/ 1743718 w 5741575"/>
              <a:gd name="connsiteY33" fmla="*/ 584327 h 955271"/>
              <a:gd name="connsiteX34" fmla="*/ 1873778 w 5741575"/>
              <a:gd name="connsiteY34" fmla="*/ 530130 h 955271"/>
              <a:gd name="connsiteX35" fmla="*/ 1988411 w 5741575"/>
              <a:gd name="connsiteY35" fmla="*/ 491599 h 955271"/>
              <a:gd name="connsiteX36" fmla="*/ 2085507 w 5741575"/>
              <a:gd name="connsiteY36" fmla="*/ 498527 h 955271"/>
              <a:gd name="connsiteX37" fmla="*/ 2090767 w 5741575"/>
              <a:gd name="connsiteY37" fmla="*/ 490616 h 955271"/>
              <a:gd name="connsiteX38" fmla="*/ 2151143 w 5741575"/>
              <a:gd name="connsiteY38" fmla="*/ 478332 h 955271"/>
              <a:gd name="connsiteX39" fmla="*/ 2378710 w 5741575"/>
              <a:gd name="connsiteY39" fmla="*/ 477570 h 955271"/>
              <a:gd name="connsiteX40" fmla="*/ 2496256 w 5741575"/>
              <a:gd name="connsiteY40" fmla="*/ 452396 h 955271"/>
              <a:gd name="connsiteX41" fmla="*/ 2535387 w 5741575"/>
              <a:gd name="connsiteY41" fmla="*/ 436645 h 955271"/>
              <a:gd name="connsiteX42" fmla="*/ 2601109 w 5741575"/>
              <a:gd name="connsiteY42" fmla="*/ 410678 h 955271"/>
              <a:gd name="connsiteX43" fmla="*/ 2643855 w 5741575"/>
              <a:gd name="connsiteY43" fmla="*/ 374482 h 955271"/>
              <a:gd name="connsiteX44" fmla="*/ 2657726 w 5741575"/>
              <a:gd name="connsiteY44" fmla="*/ 365841 h 955271"/>
              <a:gd name="connsiteX45" fmla="*/ 2687125 w 5741575"/>
              <a:gd name="connsiteY45" fmla="*/ 366820 h 955271"/>
              <a:gd name="connsiteX46" fmla="*/ 2697479 w 5741575"/>
              <a:gd name="connsiteY46" fmla="*/ 361430 h 955271"/>
              <a:gd name="connsiteX47" fmla="*/ 2701547 w 5741575"/>
              <a:gd name="connsiteY47" fmla="*/ 361545 h 955271"/>
              <a:gd name="connsiteX48" fmla="*/ 2711054 w 5741575"/>
              <a:gd name="connsiteY48" fmla="*/ 360597 h 955271"/>
              <a:gd name="connsiteX49" fmla="*/ 2710438 w 5741575"/>
              <a:gd name="connsiteY49" fmla="*/ 366958 h 955271"/>
              <a:gd name="connsiteX50" fmla="*/ 2722936 w 5741575"/>
              <a:gd name="connsiteY50" fmla="*/ 377633 h 955271"/>
              <a:gd name="connsiteX51" fmla="*/ 2777227 w 5741575"/>
              <a:gd name="connsiteY51" fmla="*/ 368972 h 955271"/>
              <a:gd name="connsiteX52" fmla="*/ 2779510 w 5741575"/>
              <a:gd name="connsiteY52" fmla="*/ 361652 h 955271"/>
              <a:gd name="connsiteX53" fmla="*/ 2786278 w 5741575"/>
              <a:gd name="connsiteY53" fmla="*/ 359869 h 955271"/>
              <a:gd name="connsiteX54" fmla="*/ 2792101 w 5741575"/>
              <a:gd name="connsiteY54" fmla="*/ 365927 h 955271"/>
              <a:gd name="connsiteX55" fmla="*/ 2885545 w 5741575"/>
              <a:gd name="connsiteY55" fmla="*/ 372818 h 955271"/>
              <a:gd name="connsiteX56" fmla="*/ 3009558 w 5741575"/>
              <a:gd name="connsiteY56" fmla="*/ 370573 h 955271"/>
              <a:gd name="connsiteX57" fmla="*/ 3095010 w 5741575"/>
              <a:gd name="connsiteY57" fmla="*/ 332454 h 955271"/>
              <a:gd name="connsiteX58" fmla="*/ 3103742 w 5741575"/>
              <a:gd name="connsiteY58" fmla="*/ 337974 h 955271"/>
              <a:gd name="connsiteX59" fmla="*/ 3165093 w 5741575"/>
              <a:gd name="connsiteY59" fmla="*/ 329459 h 955271"/>
              <a:gd name="connsiteX60" fmla="*/ 3373785 w 5741575"/>
              <a:gd name="connsiteY60" fmla="*/ 255680 h 955271"/>
              <a:gd name="connsiteX61" fmla="*/ 3493851 w 5741575"/>
              <a:gd name="connsiteY61" fmla="*/ 240255 h 955271"/>
              <a:gd name="connsiteX62" fmla="*/ 3537470 w 5741575"/>
              <a:gd name="connsiteY62" fmla="*/ 241867 h 955271"/>
              <a:gd name="connsiteX63" fmla="*/ 3610489 w 5741575"/>
              <a:gd name="connsiteY63" fmla="*/ 244128 h 955271"/>
              <a:gd name="connsiteX64" fmla="*/ 3667539 w 5741575"/>
              <a:gd name="connsiteY64" fmla="*/ 263271 h 955271"/>
              <a:gd name="connsiteX65" fmla="*/ 3727614 w 5741575"/>
              <a:gd name="connsiteY65" fmla="*/ 258245 h 955271"/>
              <a:gd name="connsiteX66" fmla="*/ 3738369 w 5741575"/>
              <a:gd name="connsiteY66" fmla="*/ 234506 h 955271"/>
              <a:gd name="connsiteX67" fmla="*/ 3803670 w 5741575"/>
              <a:gd name="connsiteY67" fmla="*/ 236457 h 955271"/>
              <a:gd name="connsiteX68" fmla="*/ 3903080 w 5741575"/>
              <a:gd name="connsiteY68" fmla="*/ 241890 h 955271"/>
              <a:gd name="connsiteX69" fmla="*/ 4114838 w 5741575"/>
              <a:gd name="connsiteY69" fmla="*/ 238165 h 955271"/>
              <a:gd name="connsiteX70" fmla="*/ 4271023 w 5741575"/>
              <a:gd name="connsiteY70" fmla="*/ 241959 h 955271"/>
              <a:gd name="connsiteX71" fmla="*/ 4367397 w 5741575"/>
              <a:gd name="connsiteY71" fmla="*/ 271442 h 955271"/>
              <a:gd name="connsiteX72" fmla="*/ 4495366 w 5741575"/>
              <a:gd name="connsiteY72" fmla="*/ 271618 h 955271"/>
              <a:gd name="connsiteX73" fmla="*/ 4517347 w 5741575"/>
              <a:gd name="connsiteY73" fmla="*/ 275639 h 955271"/>
              <a:gd name="connsiteX74" fmla="*/ 4546116 w 5741575"/>
              <a:gd name="connsiteY74" fmla="*/ 268568 h 955271"/>
              <a:gd name="connsiteX75" fmla="*/ 4661259 w 5741575"/>
              <a:gd name="connsiteY75" fmla="*/ 238966 h 955271"/>
              <a:gd name="connsiteX76" fmla="*/ 4750403 w 5741575"/>
              <a:gd name="connsiteY76" fmla="*/ 204364 h 955271"/>
              <a:gd name="connsiteX77" fmla="*/ 4867614 w 5741575"/>
              <a:gd name="connsiteY77" fmla="*/ 208668 h 955271"/>
              <a:gd name="connsiteX78" fmla="*/ 4937036 w 5741575"/>
              <a:gd name="connsiteY78" fmla="*/ 195446 h 955271"/>
              <a:gd name="connsiteX79" fmla="*/ 5047626 w 5741575"/>
              <a:gd name="connsiteY79" fmla="*/ 149604 h 955271"/>
              <a:gd name="connsiteX80" fmla="*/ 5200247 w 5741575"/>
              <a:gd name="connsiteY80" fmla="*/ 142695 h 955271"/>
              <a:gd name="connsiteX81" fmla="*/ 5235691 w 5741575"/>
              <a:gd name="connsiteY81" fmla="*/ 173330 h 955271"/>
              <a:gd name="connsiteX82" fmla="*/ 5280133 w 5741575"/>
              <a:gd name="connsiteY82" fmla="*/ 189342 h 955271"/>
              <a:gd name="connsiteX83" fmla="*/ 5291963 w 5741575"/>
              <a:gd name="connsiteY83" fmla="*/ 139446 h 955271"/>
              <a:gd name="connsiteX84" fmla="*/ 5418472 w 5741575"/>
              <a:gd name="connsiteY84" fmla="*/ 89163 h 955271"/>
              <a:gd name="connsiteX85" fmla="*/ 5482354 w 5741575"/>
              <a:gd name="connsiteY85" fmla="*/ 69470 h 955271"/>
              <a:gd name="connsiteX86" fmla="*/ 5583280 w 5741575"/>
              <a:gd name="connsiteY86" fmla="*/ 49787 h 955271"/>
              <a:gd name="connsiteX87" fmla="*/ 5613766 w 5741575"/>
              <a:gd name="connsiteY87" fmla="*/ 41855 h 955271"/>
              <a:gd name="connsiteX88" fmla="*/ 5684952 w 5741575"/>
              <a:gd name="connsiteY88" fmla="*/ 26088 h 955271"/>
              <a:gd name="connsiteX89" fmla="*/ 5741575 w 5741575"/>
              <a:gd name="connsiteY89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39115 w 5741575"/>
              <a:gd name="connsiteY7" fmla="*/ 949326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87156 w 5741575"/>
              <a:gd name="connsiteY19" fmla="*/ 838447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0426 w 5741575"/>
              <a:gd name="connsiteY22" fmla="*/ 721810 h 955271"/>
              <a:gd name="connsiteX23" fmla="*/ 1306771 w 5741575"/>
              <a:gd name="connsiteY23" fmla="*/ 717936 h 955271"/>
              <a:gd name="connsiteX24" fmla="*/ 1374314 w 5741575"/>
              <a:gd name="connsiteY24" fmla="*/ 688815 h 955271"/>
              <a:gd name="connsiteX25" fmla="*/ 1378034 w 5741575"/>
              <a:gd name="connsiteY25" fmla="*/ 685842 h 955271"/>
              <a:gd name="connsiteX26" fmla="*/ 1395604 w 5741575"/>
              <a:gd name="connsiteY26" fmla="*/ 680460 h 955271"/>
              <a:gd name="connsiteX27" fmla="*/ 1397206 w 5741575"/>
              <a:gd name="connsiteY27" fmla="*/ 670793 h 955271"/>
              <a:gd name="connsiteX28" fmla="*/ 1421250 w 5741575"/>
              <a:gd name="connsiteY28" fmla="*/ 656855 h 955271"/>
              <a:gd name="connsiteX29" fmla="*/ 1454524 w 5741575"/>
              <a:gd name="connsiteY29" fmla="*/ 649224 h 955271"/>
              <a:gd name="connsiteX30" fmla="*/ 1616217 w 5741575"/>
              <a:gd name="connsiteY30" fmla="*/ 622107 h 955271"/>
              <a:gd name="connsiteX31" fmla="*/ 1710928 w 5741575"/>
              <a:gd name="connsiteY31" fmla="*/ 600666 h 955271"/>
              <a:gd name="connsiteX32" fmla="*/ 1743718 w 5741575"/>
              <a:gd name="connsiteY32" fmla="*/ 584327 h 955271"/>
              <a:gd name="connsiteX33" fmla="*/ 1873778 w 5741575"/>
              <a:gd name="connsiteY33" fmla="*/ 530130 h 955271"/>
              <a:gd name="connsiteX34" fmla="*/ 1988411 w 5741575"/>
              <a:gd name="connsiteY34" fmla="*/ 491599 h 955271"/>
              <a:gd name="connsiteX35" fmla="*/ 2085507 w 5741575"/>
              <a:gd name="connsiteY35" fmla="*/ 498527 h 955271"/>
              <a:gd name="connsiteX36" fmla="*/ 2090767 w 5741575"/>
              <a:gd name="connsiteY36" fmla="*/ 490616 h 955271"/>
              <a:gd name="connsiteX37" fmla="*/ 2151143 w 5741575"/>
              <a:gd name="connsiteY37" fmla="*/ 478332 h 955271"/>
              <a:gd name="connsiteX38" fmla="*/ 2378710 w 5741575"/>
              <a:gd name="connsiteY38" fmla="*/ 477570 h 955271"/>
              <a:gd name="connsiteX39" fmla="*/ 2496256 w 5741575"/>
              <a:gd name="connsiteY39" fmla="*/ 452396 h 955271"/>
              <a:gd name="connsiteX40" fmla="*/ 2535387 w 5741575"/>
              <a:gd name="connsiteY40" fmla="*/ 436645 h 955271"/>
              <a:gd name="connsiteX41" fmla="*/ 2601109 w 5741575"/>
              <a:gd name="connsiteY41" fmla="*/ 410678 h 955271"/>
              <a:gd name="connsiteX42" fmla="*/ 2643855 w 5741575"/>
              <a:gd name="connsiteY42" fmla="*/ 374482 h 955271"/>
              <a:gd name="connsiteX43" fmla="*/ 2657726 w 5741575"/>
              <a:gd name="connsiteY43" fmla="*/ 365841 h 955271"/>
              <a:gd name="connsiteX44" fmla="*/ 2687125 w 5741575"/>
              <a:gd name="connsiteY44" fmla="*/ 366820 h 955271"/>
              <a:gd name="connsiteX45" fmla="*/ 2697479 w 5741575"/>
              <a:gd name="connsiteY45" fmla="*/ 361430 h 955271"/>
              <a:gd name="connsiteX46" fmla="*/ 2701547 w 5741575"/>
              <a:gd name="connsiteY46" fmla="*/ 361545 h 955271"/>
              <a:gd name="connsiteX47" fmla="*/ 2711054 w 5741575"/>
              <a:gd name="connsiteY47" fmla="*/ 360597 h 955271"/>
              <a:gd name="connsiteX48" fmla="*/ 2710438 w 5741575"/>
              <a:gd name="connsiteY48" fmla="*/ 366958 h 955271"/>
              <a:gd name="connsiteX49" fmla="*/ 2722936 w 5741575"/>
              <a:gd name="connsiteY49" fmla="*/ 377633 h 955271"/>
              <a:gd name="connsiteX50" fmla="*/ 2777227 w 5741575"/>
              <a:gd name="connsiteY50" fmla="*/ 368972 h 955271"/>
              <a:gd name="connsiteX51" fmla="*/ 2779510 w 5741575"/>
              <a:gd name="connsiteY51" fmla="*/ 361652 h 955271"/>
              <a:gd name="connsiteX52" fmla="*/ 2786278 w 5741575"/>
              <a:gd name="connsiteY52" fmla="*/ 359869 h 955271"/>
              <a:gd name="connsiteX53" fmla="*/ 2792101 w 5741575"/>
              <a:gd name="connsiteY53" fmla="*/ 365927 h 955271"/>
              <a:gd name="connsiteX54" fmla="*/ 2885545 w 5741575"/>
              <a:gd name="connsiteY54" fmla="*/ 372818 h 955271"/>
              <a:gd name="connsiteX55" fmla="*/ 3009558 w 5741575"/>
              <a:gd name="connsiteY55" fmla="*/ 370573 h 955271"/>
              <a:gd name="connsiteX56" fmla="*/ 3095010 w 5741575"/>
              <a:gd name="connsiteY56" fmla="*/ 332454 h 955271"/>
              <a:gd name="connsiteX57" fmla="*/ 3103742 w 5741575"/>
              <a:gd name="connsiteY57" fmla="*/ 337974 h 955271"/>
              <a:gd name="connsiteX58" fmla="*/ 3165093 w 5741575"/>
              <a:gd name="connsiteY58" fmla="*/ 329459 h 955271"/>
              <a:gd name="connsiteX59" fmla="*/ 3373785 w 5741575"/>
              <a:gd name="connsiteY59" fmla="*/ 255680 h 955271"/>
              <a:gd name="connsiteX60" fmla="*/ 3493851 w 5741575"/>
              <a:gd name="connsiteY60" fmla="*/ 240255 h 955271"/>
              <a:gd name="connsiteX61" fmla="*/ 3537470 w 5741575"/>
              <a:gd name="connsiteY61" fmla="*/ 241867 h 955271"/>
              <a:gd name="connsiteX62" fmla="*/ 3610489 w 5741575"/>
              <a:gd name="connsiteY62" fmla="*/ 244128 h 955271"/>
              <a:gd name="connsiteX63" fmla="*/ 3667539 w 5741575"/>
              <a:gd name="connsiteY63" fmla="*/ 263271 h 955271"/>
              <a:gd name="connsiteX64" fmla="*/ 3727614 w 5741575"/>
              <a:gd name="connsiteY64" fmla="*/ 258245 h 955271"/>
              <a:gd name="connsiteX65" fmla="*/ 3738369 w 5741575"/>
              <a:gd name="connsiteY65" fmla="*/ 234506 h 955271"/>
              <a:gd name="connsiteX66" fmla="*/ 3803670 w 5741575"/>
              <a:gd name="connsiteY66" fmla="*/ 236457 h 955271"/>
              <a:gd name="connsiteX67" fmla="*/ 3903080 w 5741575"/>
              <a:gd name="connsiteY67" fmla="*/ 241890 h 955271"/>
              <a:gd name="connsiteX68" fmla="*/ 4114838 w 5741575"/>
              <a:gd name="connsiteY68" fmla="*/ 238165 h 955271"/>
              <a:gd name="connsiteX69" fmla="*/ 4271023 w 5741575"/>
              <a:gd name="connsiteY69" fmla="*/ 241959 h 955271"/>
              <a:gd name="connsiteX70" fmla="*/ 4367397 w 5741575"/>
              <a:gd name="connsiteY70" fmla="*/ 271442 h 955271"/>
              <a:gd name="connsiteX71" fmla="*/ 4495366 w 5741575"/>
              <a:gd name="connsiteY71" fmla="*/ 271618 h 955271"/>
              <a:gd name="connsiteX72" fmla="*/ 4517347 w 5741575"/>
              <a:gd name="connsiteY72" fmla="*/ 275639 h 955271"/>
              <a:gd name="connsiteX73" fmla="*/ 4546116 w 5741575"/>
              <a:gd name="connsiteY73" fmla="*/ 268568 h 955271"/>
              <a:gd name="connsiteX74" fmla="*/ 4661259 w 5741575"/>
              <a:gd name="connsiteY74" fmla="*/ 238966 h 955271"/>
              <a:gd name="connsiteX75" fmla="*/ 4750403 w 5741575"/>
              <a:gd name="connsiteY75" fmla="*/ 204364 h 955271"/>
              <a:gd name="connsiteX76" fmla="*/ 4867614 w 5741575"/>
              <a:gd name="connsiteY76" fmla="*/ 208668 h 955271"/>
              <a:gd name="connsiteX77" fmla="*/ 4937036 w 5741575"/>
              <a:gd name="connsiteY77" fmla="*/ 195446 h 955271"/>
              <a:gd name="connsiteX78" fmla="*/ 5047626 w 5741575"/>
              <a:gd name="connsiteY78" fmla="*/ 149604 h 955271"/>
              <a:gd name="connsiteX79" fmla="*/ 5200247 w 5741575"/>
              <a:gd name="connsiteY79" fmla="*/ 142695 h 955271"/>
              <a:gd name="connsiteX80" fmla="*/ 5235691 w 5741575"/>
              <a:gd name="connsiteY80" fmla="*/ 173330 h 955271"/>
              <a:gd name="connsiteX81" fmla="*/ 5280133 w 5741575"/>
              <a:gd name="connsiteY81" fmla="*/ 189342 h 955271"/>
              <a:gd name="connsiteX82" fmla="*/ 5291963 w 5741575"/>
              <a:gd name="connsiteY82" fmla="*/ 139446 h 955271"/>
              <a:gd name="connsiteX83" fmla="*/ 5418472 w 5741575"/>
              <a:gd name="connsiteY83" fmla="*/ 89163 h 955271"/>
              <a:gd name="connsiteX84" fmla="*/ 5482354 w 5741575"/>
              <a:gd name="connsiteY84" fmla="*/ 69470 h 955271"/>
              <a:gd name="connsiteX85" fmla="*/ 5583280 w 5741575"/>
              <a:gd name="connsiteY85" fmla="*/ 49787 h 955271"/>
              <a:gd name="connsiteX86" fmla="*/ 5613766 w 5741575"/>
              <a:gd name="connsiteY86" fmla="*/ 41855 h 955271"/>
              <a:gd name="connsiteX87" fmla="*/ 5684952 w 5741575"/>
              <a:gd name="connsiteY87" fmla="*/ 26088 h 955271"/>
              <a:gd name="connsiteX88" fmla="*/ 5741575 w 5741575"/>
              <a:gd name="connsiteY88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87156 w 5741575"/>
              <a:gd name="connsiteY19" fmla="*/ 838447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0426 w 5741575"/>
              <a:gd name="connsiteY22" fmla="*/ 721810 h 955271"/>
              <a:gd name="connsiteX23" fmla="*/ 1306771 w 5741575"/>
              <a:gd name="connsiteY23" fmla="*/ 717936 h 955271"/>
              <a:gd name="connsiteX24" fmla="*/ 1374314 w 5741575"/>
              <a:gd name="connsiteY24" fmla="*/ 688815 h 955271"/>
              <a:gd name="connsiteX25" fmla="*/ 1378034 w 5741575"/>
              <a:gd name="connsiteY25" fmla="*/ 685842 h 955271"/>
              <a:gd name="connsiteX26" fmla="*/ 1395604 w 5741575"/>
              <a:gd name="connsiteY26" fmla="*/ 680460 h 955271"/>
              <a:gd name="connsiteX27" fmla="*/ 1397206 w 5741575"/>
              <a:gd name="connsiteY27" fmla="*/ 670793 h 955271"/>
              <a:gd name="connsiteX28" fmla="*/ 1421250 w 5741575"/>
              <a:gd name="connsiteY28" fmla="*/ 656855 h 955271"/>
              <a:gd name="connsiteX29" fmla="*/ 1454524 w 5741575"/>
              <a:gd name="connsiteY29" fmla="*/ 649224 h 955271"/>
              <a:gd name="connsiteX30" fmla="*/ 1616217 w 5741575"/>
              <a:gd name="connsiteY30" fmla="*/ 622107 h 955271"/>
              <a:gd name="connsiteX31" fmla="*/ 1710928 w 5741575"/>
              <a:gd name="connsiteY31" fmla="*/ 600666 h 955271"/>
              <a:gd name="connsiteX32" fmla="*/ 1743718 w 5741575"/>
              <a:gd name="connsiteY32" fmla="*/ 584327 h 955271"/>
              <a:gd name="connsiteX33" fmla="*/ 1873778 w 5741575"/>
              <a:gd name="connsiteY33" fmla="*/ 530130 h 955271"/>
              <a:gd name="connsiteX34" fmla="*/ 1988411 w 5741575"/>
              <a:gd name="connsiteY34" fmla="*/ 491599 h 955271"/>
              <a:gd name="connsiteX35" fmla="*/ 2085507 w 5741575"/>
              <a:gd name="connsiteY35" fmla="*/ 498527 h 955271"/>
              <a:gd name="connsiteX36" fmla="*/ 2090767 w 5741575"/>
              <a:gd name="connsiteY36" fmla="*/ 490616 h 955271"/>
              <a:gd name="connsiteX37" fmla="*/ 2151143 w 5741575"/>
              <a:gd name="connsiteY37" fmla="*/ 478332 h 955271"/>
              <a:gd name="connsiteX38" fmla="*/ 2378710 w 5741575"/>
              <a:gd name="connsiteY38" fmla="*/ 477570 h 955271"/>
              <a:gd name="connsiteX39" fmla="*/ 2496256 w 5741575"/>
              <a:gd name="connsiteY39" fmla="*/ 452396 h 955271"/>
              <a:gd name="connsiteX40" fmla="*/ 2535387 w 5741575"/>
              <a:gd name="connsiteY40" fmla="*/ 436645 h 955271"/>
              <a:gd name="connsiteX41" fmla="*/ 2601109 w 5741575"/>
              <a:gd name="connsiteY41" fmla="*/ 410678 h 955271"/>
              <a:gd name="connsiteX42" fmla="*/ 2643855 w 5741575"/>
              <a:gd name="connsiteY42" fmla="*/ 374482 h 955271"/>
              <a:gd name="connsiteX43" fmla="*/ 2657726 w 5741575"/>
              <a:gd name="connsiteY43" fmla="*/ 365841 h 955271"/>
              <a:gd name="connsiteX44" fmla="*/ 2687125 w 5741575"/>
              <a:gd name="connsiteY44" fmla="*/ 366820 h 955271"/>
              <a:gd name="connsiteX45" fmla="*/ 2697479 w 5741575"/>
              <a:gd name="connsiteY45" fmla="*/ 361430 h 955271"/>
              <a:gd name="connsiteX46" fmla="*/ 2701547 w 5741575"/>
              <a:gd name="connsiteY46" fmla="*/ 361545 h 955271"/>
              <a:gd name="connsiteX47" fmla="*/ 2711054 w 5741575"/>
              <a:gd name="connsiteY47" fmla="*/ 360597 h 955271"/>
              <a:gd name="connsiteX48" fmla="*/ 2710438 w 5741575"/>
              <a:gd name="connsiteY48" fmla="*/ 366958 h 955271"/>
              <a:gd name="connsiteX49" fmla="*/ 2722936 w 5741575"/>
              <a:gd name="connsiteY49" fmla="*/ 377633 h 955271"/>
              <a:gd name="connsiteX50" fmla="*/ 2777227 w 5741575"/>
              <a:gd name="connsiteY50" fmla="*/ 368972 h 955271"/>
              <a:gd name="connsiteX51" fmla="*/ 2779510 w 5741575"/>
              <a:gd name="connsiteY51" fmla="*/ 361652 h 955271"/>
              <a:gd name="connsiteX52" fmla="*/ 2786278 w 5741575"/>
              <a:gd name="connsiteY52" fmla="*/ 359869 h 955271"/>
              <a:gd name="connsiteX53" fmla="*/ 2792101 w 5741575"/>
              <a:gd name="connsiteY53" fmla="*/ 365927 h 955271"/>
              <a:gd name="connsiteX54" fmla="*/ 2885545 w 5741575"/>
              <a:gd name="connsiteY54" fmla="*/ 372818 h 955271"/>
              <a:gd name="connsiteX55" fmla="*/ 3009558 w 5741575"/>
              <a:gd name="connsiteY55" fmla="*/ 370573 h 955271"/>
              <a:gd name="connsiteX56" fmla="*/ 3095010 w 5741575"/>
              <a:gd name="connsiteY56" fmla="*/ 332454 h 955271"/>
              <a:gd name="connsiteX57" fmla="*/ 3103742 w 5741575"/>
              <a:gd name="connsiteY57" fmla="*/ 337974 h 955271"/>
              <a:gd name="connsiteX58" fmla="*/ 3165093 w 5741575"/>
              <a:gd name="connsiteY58" fmla="*/ 329459 h 955271"/>
              <a:gd name="connsiteX59" fmla="*/ 3373785 w 5741575"/>
              <a:gd name="connsiteY59" fmla="*/ 255680 h 955271"/>
              <a:gd name="connsiteX60" fmla="*/ 3493851 w 5741575"/>
              <a:gd name="connsiteY60" fmla="*/ 240255 h 955271"/>
              <a:gd name="connsiteX61" fmla="*/ 3537470 w 5741575"/>
              <a:gd name="connsiteY61" fmla="*/ 241867 h 955271"/>
              <a:gd name="connsiteX62" fmla="*/ 3610489 w 5741575"/>
              <a:gd name="connsiteY62" fmla="*/ 244128 h 955271"/>
              <a:gd name="connsiteX63" fmla="*/ 3667539 w 5741575"/>
              <a:gd name="connsiteY63" fmla="*/ 263271 h 955271"/>
              <a:gd name="connsiteX64" fmla="*/ 3727614 w 5741575"/>
              <a:gd name="connsiteY64" fmla="*/ 258245 h 955271"/>
              <a:gd name="connsiteX65" fmla="*/ 3738369 w 5741575"/>
              <a:gd name="connsiteY65" fmla="*/ 234506 h 955271"/>
              <a:gd name="connsiteX66" fmla="*/ 3803670 w 5741575"/>
              <a:gd name="connsiteY66" fmla="*/ 236457 h 955271"/>
              <a:gd name="connsiteX67" fmla="*/ 3903080 w 5741575"/>
              <a:gd name="connsiteY67" fmla="*/ 241890 h 955271"/>
              <a:gd name="connsiteX68" fmla="*/ 4114838 w 5741575"/>
              <a:gd name="connsiteY68" fmla="*/ 238165 h 955271"/>
              <a:gd name="connsiteX69" fmla="*/ 4271023 w 5741575"/>
              <a:gd name="connsiteY69" fmla="*/ 241959 h 955271"/>
              <a:gd name="connsiteX70" fmla="*/ 4367397 w 5741575"/>
              <a:gd name="connsiteY70" fmla="*/ 271442 h 955271"/>
              <a:gd name="connsiteX71" fmla="*/ 4495366 w 5741575"/>
              <a:gd name="connsiteY71" fmla="*/ 271618 h 955271"/>
              <a:gd name="connsiteX72" fmla="*/ 4517347 w 5741575"/>
              <a:gd name="connsiteY72" fmla="*/ 275639 h 955271"/>
              <a:gd name="connsiteX73" fmla="*/ 4546116 w 5741575"/>
              <a:gd name="connsiteY73" fmla="*/ 268568 h 955271"/>
              <a:gd name="connsiteX74" fmla="*/ 4661259 w 5741575"/>
              <a:gd name="connsiteY74" fmla="*/ 238966 h 955271"/>
              <a:gd name="connsiteX75" fmla="*/ 4750403 w 5741575"/>
              <a:gd name="connsiteY75" fmla="*/ 204364 h 955271"/>
              <a:gd name="connsiteX76" fmla="*/ 4867614 w 5741575"/>
              <a:gd name="connsiteY76" fmla="*/ 208668 h 955271"/>
              <a:gd name="connsiteX77" fmla="*/ 4937036 w 5741575"/>
              <a:gd name="connsiteY77" fmla="*/ 195446 h 955271"/>
              <a:gd name="connsiteX78" fmla="*/ 5047626 w 5741575"/>
              <a:gd name="connsiteY78" fmla="*/ 149604 h 955271"/>
              <a:gd name="connsiteX79" fmla="*/ 5200247 w 5741575"/>
              <a:gd name="connsiteY79" fmla="*/ 142695 h 955271"/>
              <a:gd name="connsiteX80" fmla="*/ 5235691 w 5741575"/>
              <a:gd name="connsiteY80" fmla="*/ 173330 h 955271"/>
              <a:gd name="connsiteX81" fmla="*/ 5280133 w 5741575"/>
              <a:gd name="connsiteY81" fmla="*/ 189342 h 955271"/>
              <a:gd name="connsiteX82" fmla="*/ 5291963 w 5741575"/>
              <a:gd name="connsiteY82" fmla="*/ 139446 h 955271"/>
              <a:gd name="connsiteX83" fmla="*/ 5418472 w 5741575"/>
              <a:gd name="connsiteY83" fmla="*/ 89163 h 955271"/>
              <a:gd name="connsiteX84" fmla="*/ 5482354 w 5741575"/>
              <a:gd name="connsiteY84" fmla="*/ 69470 h 955271"/>
              <a:gd name="connsiteX85" fmla="*/ 5583280 w 5741575"/>
              <a:gd name="connsiteY85" fmla="*/ 49787 h 955271"/>
              <a:gd name="connsiteX86" fmla="*/ 5613766 w 5741575"/>
              <a:gd name="connsiteY86" fmla="*/ 41855 h 955271"/>
              <a:gd name="connsiteX87" fmla="*/ 5684952 w 5741575"/>
              <a:gd name="connsiteY87" fmla="*/ 26088 h 955271"/>
              <a:gd name="connsiteX88" fmla="*/ 5741575 w 5741575"/>
              <a:gd name="connsiteY88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0426 w 5741575"/>
              <a:gd name="connsiteY22" fmla="*/ 721810 h 955271"/>
              <a:gd name="connsiteX23" fmla="*/ 1306771 w 5741575"/>
              <a:gd name="connsiteY23" fmla="*/ 717936 h 955271"/>
              <a:gd name="connsiteX24" fmla="*/ 1374314 w 5741575"/>
              <a:gd name="connsiteY24" fmla="*/ 688815 h 955271"/>
              <a:gd name="connsiteX25" fmla="*/ 1378034 w 5741575"/>
              <a:gd name="connsiteY25" fmla="*/ 685842 h 955271"/>
              <a:gd name="connsiteX26" fmla="*/ 1395604 w 5741575"/>
              <a:gd name="connsiteY26" fmla="*/ 680460 h 955271"/>
              <a:gd name="connsiteX27" fmla="*/ 1397206 w 5741575"/>
              <a:gd name="connsiteY27" fmla="*/ 670793 h 955271"/>
              <a:gd name="connsiteX28" fmla="*/ 1421250 w 5741575"/>
              <a:gd name="connsiteY28" fmla="*/ 656855 h 955271"/>
              <a:gd name="connsiteX29" fmla="*/ 1454524 w 5741575"/>
              <a:gd name="connsiteY29" fmla="*/ 649224 h 955271"/>
              <a:gd name="connsiteX30" fmla="*/ 1616217 w 5741575"/>
              <a:gd name="connsiteY30" fmla="*/ 622107 h 955271"/>
              <a:gd name="connsiteX31" fmla="*/ 1710928 w 5741575"/>
              <a:gd name="connsiteY31" fmla="*/ 600666 h 955271"/>
              <a:gd name="connsiteX32" fmla="*/ 1743718 w 5741575"/>
              <a:gd name="connsiteY32" fmla="*/ 584327 h 955271"/>
              <a:gd name="connsiteX33" fmla="*/ 1873778 w 5741575"/>
              <a:gd name="connsiteY33" fmla="*/ 530130 h 955271"/>
              <a:gd name="connsiteX34" fmla="*/ 1988411 w 5741575"/>
              <a:gd name="connsiteY34" fmla="*/ 491599 h 955271"/>
              <a:gd name="connsiteX35" fmla="*/ 2085507 w 5741575"/>
              <a:gd name="connsiteY35" fmla="*/ 498527 h 955271"/>
              <a:gd name="connsiteX36" fmla="*/ 2090767 w 5741575"/>
              <a:gd name="connsiteY36" fmla="*/ 490616 h 955271"/>
              <a:gd name="connsiteX37" fmla="*/ 2151143 w 5741575"/>
              <a:gd name="connsiteY37" fmla="*/ 478332 h 955271"/>
              <a:gd name="connsiteX38" fmla="*/ 2378710 w 5741575"/>
              <a:gd name="connsiteY38" fmla="*/ 477570 h 955271"/>
              <a:gd name="connsiteX39" fmla="*/ 2496256 w 5741575"/>
              <a:gd name="connsiteY39" fmla="*/ 452396 h 955271"/>
              <a:gd name="connsiteX40" fmla="*/ 2535387 w 5741575"/>
              <a:gd name="connsiteY40" fmla="*/ 436645 h 955271"/>
              <a:gd name="connsiteX41" fmla="*/ 2601109 w 5741575"/>
              <a:gd name="connsiteY41" fmla="*/ 410678 h 955271"/>
              <a:gd name="connsiteX42" fmla="*/ 2643855 w 5741575"/>
              <a:gd name="connsiteY42" fmla="*/ 374482 h 955271"/>
              <a:gd name="connsiteX43" fmla="*/ 2657726 w 5741575"/>
              <a:gd name="connsiteY43" fmla="*/ 365841 h 955271"/>
              <a:gd name="connsiteX44" fmla="*/ 2687125 w 5741575"/>
              <a:gd name="connsiteY44" fmla="*/ 366820 h 955271"/>
              <a:gd name="connsiteX45" fmla="*/ 2697479 w 5741575"/>
              <a:gd name="connsiteY45" fmla="*/ 361430 h 955271"/>
              <a:gd name="connsiteX46" fmla="*/ 2701547 w 5741575"/>
              <a:gd name="connsiteY46" fmla="*/ 361545 h 955271"/>
              <a:gd name="connsiteX47" fmla="*/ 2711054 w 5741575"/>
              <a:gd name="connsiteY47" fmla="*/ 360597 h 955271"/>
              <a:gd name="connsiteX48" fmla="*/ 2710438 w 5741575"/>
              <a:gd name="connsiteY48" fmla="*/ 366958 h 955271"/>
              <a:gd name="connsiteX49" fmla="*/ 2722936 w 5741575"/>
              <a:gd name="connsiteY49" fmla="*/ 377633 h 955271"/>
              <a:gd name="connsiteX50" fmla="*/ 2777227 w 5741575"/>
              <a:gd name="connsiteY50" fmla="*/ 368972 h 955271"/>
              <a:gd name="connsiteX51" fmla="*/ 2779510 w 5741575"/>
              <a:gd name="connsiteY51" fmla="*/ 361652 h 955271"/>
              <a:gd name="connsiteX52" fmla="*/ 2786278 w 5741575"/>
              <a:gd name="connsiteY52" fmla="*/ 359869 h 955271"/>
              <a:gd name="connsiteX53" fmla="*/ 2792101 w 5741575"/>
              <a:gd name="connsiteY53" fmla="*/ 365927 h 955271"/>
              <a:gd name="connsiteX54" fmla="*/ 2885545 w 5741575"/>
              <a:gd name="connsiteY54" fmla="*/ 372818 h 955271"/>
              <a:gd name="connsiteX55" fmla="*/ 3009558 w 5741575"/>
              <a:gd name="connsiteY55" fmla="*/ 370573 h 955271"/>
              <a:gd name="connsiteX56" fmla="*/ 3095010 w 5741575"/>
              <a:gd name="connsiteY56" fmla="*/ 332454 h 955271"/>
              <a:gd name="connsiteX57" fmla="*/ 3103742 w 5741575"/>
              <a:gd name="connsiteY57" fmla="*/ 337974 h 955271"/>
              <a:gd name="connsiteX58" fmla="*/ 3165093 w 5741575"/>
              <a:gd name="connsiteY58" fmla="*/ 329459 h 955271"/>
              <a:gd name="connsiteX59" fmla="*/ 3373785 w 5741575"/>
              <a:gd name="connsiteY59" fmla="*/ 255680 h 955271"/>
              <a:gd name="connsiteX60" fmla="*/ 3493851 w 5741575"/>
              <a:gd name="connsiteY60" fmla="*/ 240255 h 955271"/>
              <a:gd name="connsiteX61" fmla="*/ 3537470 w 5741575"/>
              <a:gd name="connsiteY61" fmla="*/ 241867 h 955271"/>
              <a:gd name="connsiteX62" fmla="*/ 3610489 w 5741575"/>
              <a:gd name="connsiteY62" fmla="*/ 244128 h 955271"/>
              <a:gd name="connsiteX63" fmla="*/ 3667539 w 5741575"/>
              <a:gd name="connsiteY63" fmla="*/ 263271 h 955271"/>
              <a:gd name="connsiteX64" fmla="*/ 3727614 w 5741575"/>
              <a:gd name="connsiteY64" fmla="*/ 258245 h 955271"/>
              <a:gd name="connsiteX65" fmla="*/ 3738369 w 5741575"/>
              <a:gd name="connsiteY65" fmla="*/ 234506 h 955271"/>
              <a:gd name="connsiteX66" fmla="*/ 3803670 w 5741575"/>
              <a:gd name="connsiteY66" fmla="*/ 236457 h 955271"/>
              <a:gd name="connsiteX67" fmla="*/ 3903080 w 5741575"/>
              <a:gd name="connsiteY67" fmla="*/ 241890 h 955271"/>
              <a:gd name="connsiteX68" fmla="*/ 4114838 w 5741575"/>
              <a:gd name="connsiteY68" fmla="*/ 238165 h 955271"/>
              <a:gd name="connsiteX69" fmla="*/ 4271023 w 5741575"/>
              <a:gd name="connsiteY69" fmla="*/ 241959 h 955271"/>
              <a:gd name="connsiteX70" fmla="*/ 4367397 w 5741575"/>
              <a:gd name="connsiteY70" fmla="*/ 271442 h 955271"/>
              <a:gd name="connsiteX71" fmla="*/ 4495366 w 5741575"/>
              <a:gd name="connsiteY71" fmla="*/ 271618 h 955271"/>
              <a:gd name="connsiteX72" fmla="*/ 4517347 w 5741575"/>
              <a:gd name="connsiteY72" fmla="*/ 275639 h 955271"/>
              <a:gd name="connsiteX73" fmla="*/ 4546116 w 5741575"/>
              <a:gd name="connsiteY73" fmla="*/ 268568 h 955271"/>
              <a:gd name="connsiteX74" fmla="*/ 4661259 w 5741575"/>
              <a:gd name="connsiteY74" fmla="*/ 238966 h 955271"/>
              <a:gd name="connsiteX75" fmla="*/ 4750403 w 5741575"/>
              <a:gd name="connsiteY75" fmla="*/ 204364 h 955271"/>
              <a:gd name="connsiteX76" fmla="*/ 4867614 w 5741575"/>
              <a:gd name="connsiteY76" fmla="*/ 208668 h 955271"/>
              <a:gd name="connsiteX77" fmla="*/ 4937036 w 5741575"/>
              <a:gd name="connsiteY77" fmla="*/ 195446 h 955271"/>
              <a:gd name="connsiteX78" fmla="*/ 5047626 w 5741575"/>
              <a:gd name="connsiteY78" fmla="*/ 149604 h 955271"/>
              <a:gd name="connsiteX79" fmla="*/ 5200247 w 5741575"/>
              <a:gd name="connsiteY79" fmla="*/ 142695 h 955271"/>
              <a:gd name="connsiteX80" fmla="*/ 5235691 w 5741575"/>
              <a:gd name="connsiteY80" fmla="*/ 173330 h 955271"/>
              <a:gd name="connsiteX81" fmla="*/ 5280133 w 5741575"/>
              <a:gd name="connsiteY81" fmla="*/ 189342 h 955271"/>
              <a:gd name="connsiteX82" fmla="*/ 5291963 w 5741575"/>
              <a:gd name="connsiteY82" fmla="*/ 139446 h 955271"/>
              <a:gd name="connsiteX83" fmla="*/ 5418472 w 5741575"/>
              <a:gd name="connsiteY83" fmla="*/ 89163 h 955271"/>
              <a:gd name="connsiteX84" fmla="*/ 5482354 w 5741575"/>
              <a:gd name="connsiteY84" fmla="*/ 69470 h 955271"/>
              <a:gd name="connsiteX85" fmla="*/ 5583280 w 5741575"/>
              <a:gd name="connsiteY85" fmla="*/ 49787 h 955271"/>
              <a:gd name="connsiteX86" fmla="*/ 5613766 w 5741575"/>
              <a:gd name="connsiteY86" fmla="*/ 41855 h 955271"/>
              <a:gd name="connsiteX87" fmla="*/ 5684952 w 5741575"/>
              <a:gd name="connsiteY87" fmla="*/ 26088 h 955271"/>
              <a:gd name="connsiteX88" fmla="*/ 5741575 w 5741575"/>
              <a:gd name="connsiteY88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0426 w 5741575"/>
              <a:gd name="connsiteY22" fmla="*/ 721810 h 955271"/>
              <a:gd name="connsiteX23" fmla="*/ 1306771 w 5741575"/>
              <a:gd name="connsiteY23" fmla="*/ 717936 h 955271"/>
              <a:gd name="connsiteX24" fmla="*/ 1374314 w 5741575"/>
              <a:gd name="connsiteY24" fmla="*/ 688815 h 955271"/>
              <a:gd name="connsiteX25" fmla="*/ 1378034 w 5741575"/>
              <a:gd name="connsiteY25" fmla="*/ 685842 h 955271"/>
              <a:gd name="connsiteX26" fmla="*/ 1395604 w 5741575"/>
              <a:gd name="connsiteY26" fmla="*/ 680460 h 955271"/>
              <a:gd name="connsiteX27" fmla="*/ 1397206 w 5741575"/>
              <a:gd name="connsiteY27" fmla="*/ 670793 h 955271"/>
              <a:gd name="connsiteX28" fmla="*/ 1421250 w 5741575"/>
              <a:gd name="connsiteY28" fmla="*/ 656855 h 955271"/>
              <a:gd name="connsiteX29" fmla="*/ 1454524 w 5741575"/>
              <a:gd name="connsiteY29" fmla="*/ 649224 h 955271"/>
              <a:gd name="connsiteX30" fmla="*/ 1616217 w 5741575"/>
              <a:gd name="connsiteY30" fmla="*/ 622107 h 955271"/>
              <a:gd name="connsiteX31" fmla="*/ 1710928 w 5741575"/>
              <a:gd name="connsiteY31" fmla="*/ 600666 h 955271"/>
              <a:gd name="connsiteX32" fmla="*/ 1743718 w 5741575"/>
              <a:gd name="connsiteY32" fmla="*/ 584327 h 955271"/>
              <a:gd name="connsiteX33" fmla="*/ 1873778 w 5741575"/>
              <a:gd name="connsiteY33" fmla="*/ 530130 h 955271"/>
              <a:gd name="connsiteX34" fmla="*/ 1988411 w 5741575"/>
              <a:gd name="connsiteY34" fmla="*/ 491599 h 955271"/>
              <a:gd name="connsiteX35" fmla="*/ 2085507 w 5741575"/>
              <a:gd name="connsiteY35" fmla="*/ 498527 h 955271"/>
              <a:gd name="connsiteX36" fmla="*/ 2090767 w 5741575"/>
              <a:gd name="connsiteY36" fmla="*/ 490616 h 955271"/>
              <a:gd name="connsiteX37" fmla="*/ 2151143 w 5741575"/>
              <a:gd name="connsiteY37" fmla="*/ 478332 h 955271"/>
              <a:gd name="connsiteX38" fmla="*/ 2378710 w 5741575"/>
              <a:gd name="connsiteY38" fmla="*/ 477570 h 955271"/>
              <a:gd name="connsiteX39" fmla="*/ 2496256 w 5741575"/>
              <a:gd name="connsiteY39" fmla="*/ 452396 h 955271"/>
              <a:gd name="connsiteX40" fmla="*/ 2535387 w 5741575"/>
              <a:gd name="connsiteY40" fmla="*/ 436645 h 955271"/>
              <a:gd name="connsiteX41" fmla="*/ 2601109 w 5741575"/>
              <a:gd name="connsiteY41" fmla="*/ 410678 h 955271"/>
              <a:gd name="connsiteX42" fmla="*/ 2643855 w 5741575"/>
              <a:gd name="connsiteY42" fmla="*/ 374482 h 955271"/>
              <a:gd name="connsiteX43" fmla="*/ 2657726 w 5741575"/>
              <a:gd name="connsiteY43" fmla="*/ 365841 h 955271"/>
              <a:gd name="connsiteX44" fmla="*/ 2687125 w 5741575"/>
              <a:gd name="connsiteY44" fmla="*/ 366820 h 955271"/>
              <a:gd name="connsiteX45" fmla="*/ 2697479 w 5741575"/>
              <a:gd name="connsiteY45" fmla="*/ 361430 h 955271"/>
              <a:gd name="connsiteX46" fmla="*/ 2701547 w 5741575"/>
              <a:gd name="connsiteY46" fmla="*/ 361545 h 955271"/>
              <a:gd name="connsiteX47" fmla="*/ 2711054 w 5741575"/>
              <a:gd name="connsiteY47" fmla="*/ 360597 h 955271"/>
              <a:gd name="connsiteX48" fmla="*/ 2710438 w 5741575"/>
              <a:gd name="connsiteY48" fmla="*/ 366958 h 955271"/>
              <a:gd name="connsiteX49" fmla="*/ 2722936 w 5741575"/>
              <a:gd name="connsiteY49" fmla="*/ 377633 h 955271"/>
              <a:gd name="connsiteX50" fmla="*/ 2777227 w 5741575"/>
              <a:gd name="connsiteY50" fmla="*/ 368972 h 955271"/>
              <a:gd name="connsiteX51" fmla="*/ 2779510 w 5741575"/>
              <a:gd name="connsiteY51" fmla="*/ 361652 h 955271"/>
              <a:gd name="connsiteX52" fmla="*/ 2786278 w 5741575"/>
              <a:gd name="connsiteY52" fmla="*/ 359869 h 955271"/>
              <a:gd name="connsiteX53" fmla="*/ 2792101 w 5741575"/>
              <a:gd name="connsiteY53" fmla="*/ 365927 h 955271"/>
              <a:gd name="connsiteX54" fmla="*/ 2885545 w 5741575"/>
              <a:gd name="connsiteY54" fmla="*/ 372818 h 955271"/>
              <a:gd name="connsiteX55" fmla="*/ 3009558 w 5741575"/>
              <a:gd name="connsiteY55" fmla="*/ 370573 h 955271"/>
              <a:gd name="connsiteX56" fmla="*/ 3095010 w 5741575"/>
              <a:gd name="connsiteY56" fmla="*/ 332454 h 955271"/>
              <a:gd name="connsiteX57" fmla="*/ 3103742 w 5741575"/>
              <a:gd name="connsiteY57" fmla="*/ 337974 h 955271"/>
              <a:gd name="connsiteX58" fmla="*/ 3165093 w 5741575"/>
              <a:gd name="connsiteY58" fmla="*/ 329459 h 955271"/>
              <a:gd name="connsiteX59" fmla="*/ 3373785 w 5741575"/>
              <a:gd name="connsiteY59" fmla="*/ 255680 h 955271"/>
              <a:gd name="connsiteX60" fmla="*/ 3493851 w 5741575"/>
              <a:gd name="connsiteY60" fmla="*/ 240255 h 955271"/>
              <a:gd name="connsiteX61" fmla="*/ 3537470 w 5741575"/>
              <a:gd name="connsiteY61" fmla="*/ 241867 h 955271"/>
              <a:gd name="connsiteX62" fmla="*/ 3610489 w 5741575"/>
              <a:gd name="connsiteY62" fmla="*/ 244128 h 955271"/>
              <a:gd name="connsiteX63" fmla="*/ 3667539 w 5741575"/>
              <a:gd name="connsiteY63" fmla="*/ 263271 h 955271"/>
              <a:gd name="connsiteX64" fmla="*/ 3727614 w 5741575"/>
              <a:gd name="connsiteY64" fmla="*/ 258245 h 955271"/>
              <a:gd name="connsiteX65" fmla="*/ 3738369 w 5741575"/>
              <a:gd name="connsiteY65" fmla="*/ 234506 h 955271"/>
              <a:gd name="connsiteX66" fmla="*/ 3803670 w 5741575"/>
              <a:gd name="connsiteY66" fmla="*/ 236457 h 955271"/>
              <a:gd name="connsiteX67" fmla="*/ 3903080 w 5741575"/>
              <a:gd name="connsiteY67" fmla="*/ 241890 h 955271"/>
              <a:gd name="connsiteX68" fmla="*/ 4114838 w 5741575"/>
              <a:gd name="connsiteY68" fmla="*/ 238165 h 955271"/>
              <a:gd name="connsiteX69" fmla="*/ 4271023 w 5741575"/>
              <a:gd name="connsiteY69" fmla="*/ 241959 h 955271"/>
              <a:gd name="connsiteX70" fmla="*/ 4367397 w 5741575"/>
              <a:gd name="connsiteY70" fmla="*/ 271442 h 955271"/>
              <a:gd name="connsiteX71" fmla="*/ 4495366 w 5741575"/>
              <a:gd name="connsiteY71" fmla="*/ 271618 h 955271"/>
              <a:gd name="connsiteX72" fmla="*/ 4517347 w 5741575"/>
              <a:gd name="connsiteY72" fmla="*/ 275639 h 955271"/>
              <a:gd name="connsiteX73" fmla="*/ 4546116 w 5741575"/>
              <a:gd name="connsiteY73" fmla="*/ 268568 h 955271"/>
              <a:gd name="connsiteX74" fmla="*/ 4661259 w 5741575"/>
              <a:gd name="connsiteY74" fmla="*/ 238966 h 955271"/>
              <a:gd name="connsiteX75" fmla="*/ 4750403 w 5741575"/>
              <a:gd name="connsiteY75" fmla="*/ 204364 h 955271"/>
              <a:gd name="connsiteX76" fmla="*/ 4867614 w 5741575"/>
              <a:gd name="connsiteY76" fmla="*/ 208668 h 955271"/>
              <a:gd name="connsiteX77" fmla="*/ 4937036 w 5741575"/>
              <a:gd name="connsiteY77" fmla="*/ 195446 h 955271"/>
              <a:gd name="connsiteX78" fmla="*/ 5047626 w 5741575"/>
              <a:gd name="connsiteY78" fmla="*/ 149604 h 955271"/>
              <a:gd name="connsiteX79" fmla="*/ 5200247 w 5741575"/>
              <a:gd name="connsiteY79" fmla="*/ 142695 h 955271"/>
              <a:gd name="connsiteX80" fmla="*/ 5235691 w 5741575"/>
              <a:gd name="connsiteY80" fmla="*/ 173330 h 955271"/>
              <a:gd name="connsiteX81" fmla="*/ 5280133 w 5741575"/>
              <a:gd name="connsiteY81" fmla="*/ 189342 h 955271"/>
              <a:gd name="connsiteX82" fmla="*/ 5291963 w 5741575"/>
              <a:gd name="connsiteY82" fmla="*/ 139446 h 955271"/>
              <a:gd name="connsiteX83" fmla="*/ 5418472 w 5741575"/>
              <a:gd name="connsiteY83" fmla="*/ 89163 h 955271"/>
              <a:gd name="connsiteX84" fmla="*/ 5482354 w 5741575"/>
              <a:gd name="connsiteY84" fmla="*/ 69470 h 955271"/>
              <a:gd name="connsiteX85" fmla="*/ 5583280 w 5741575"/>
              <a:gd name="connsiteY85" fmla="*/ 49787 h 955271"/>
              <a:gd name="connsiteX86" fmla="*/ 5613766 w 5741575"/>
              <a:gd name="connsiteY86" fmla="*/ 41855 h 955271"/>
              <a:gd name="connsiteX87" fmla="*/ 5684952 w 5741575"/>
              <a:gd name="connsiteY87" fmla="*/ 26088 h 955271"/>
              <a:gd name="connsiteX88" fmla="*/ 5741575 w 5741575"/>
              <a:gd name="connsiteY88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0426 w 5741575"/>
              <a:gd name="connsiteY22" fmla="*/ 721810 h 955271"/>
              <a:gd name="connsiteX23" fmla="*/ 1306771 w 5741575"/>
              <a:gd name="connsiteY23" fmla="*/ 717936 h 955271"/>
              <a:gd name="connsiteX24" fmla="*/ 1374314 w 5741575"/>
              <a:gd name="connsiteY24" fmla="*/ 688815 h 955271"/>
              <a:gd name="connsiteX25" fmla="*/ 1378034 w 5741575"/>
              <a:gd name="connsiteY25" fmla="*/ 685842 h 955271"/>
              <a:gd name="connsiteX26" fmla="*/ 1395604 w 5741575"/>
              <a:gd name="connsiteY26" fmla="*/ 680460 h 955271"/>
              <a:gd name="connsiteX27" fmla="*/ 1397206 w 5741575"/>
              <a:gd name="connsiteY27" fmla="*/ 670793 h 955271"/>
              <a:gd name="connsiteX28" fmla="*/ 1421250 w 5741575"/>
              <a:gd name="connsiteY28" fmla="*/ 656855 h 955271"/>
              <a:gd name="connsiteX29" fmla="*/ 1494753 w 5741575"/>
              <a:gd name="connsiteY29" fmla="*/ 644686 h 955271"/>
              <a:gd name="connsiteX30" fmla="*/ 1616217 w 5741575"/>
              <a:gd name="connsiteY30" fmla="*/ 622107 h 955271"/>
              <a:gd name="connsiteX31" fmla="*/ 1710928 w 5741575"/>
              <a:gd name="connsiteY31" fmla="*/ 600666 h 955271"/>
              <a:gd name="connsiteX32" fmla="*/ 1743718 w 5741575"/>
              <a:gd name="connsiteY32" fmla="*/ 584327 h 955271"/>
              <a:gd name="connsiteX33" fmla="*/ 1873778 w 5741575"/>
              <a:gd name="connsiteY33" fmla="*/ 530130 h 955271"/>
              <a:gd name="connsiteX34" fmla="*/ 1988411 w 5741575"/>
              <a:gd name="connsiteY34" fmla="*/ 491599 h 955271"/>
              <a:gd name="connsiteX35" fmla="*/ 2085507 w 5741575"/>
              <a:gd name="connsiteY35" fmla="*/ 498527 h 955271"/>
              <a:gd name="connsiteX36" fmla="*/ 2090767 w 5741575"/>
              <a:gd name="connsiteY36" fmla="*/ 490616 h 955271"/>
              <a:gd name="connsiteX37" fmla="*/ 2151143 w 5741575"/>
              <a:gd name="connsiteY37" fmla="*/ 478332 h 955271"/>
              <a:gd name="connsiteX38" fmla="*/ 2378710 w 5741575"/>
              <a:gd name="connsiteY38" fmla="*/ 477570 h 955271"/>
              <a:gd name="connsiteX39" fmla="*/ 2496256 w 5741575"/>
              <a:gd name="connsiteY39" fmla="*/ 452396 h 955271"/>
              <a:gd name="connsiteX40" fmla="*/ 2535387 w 5741575"/>
              <a:gd name="connsiteY40" fmla="*/ 436645 h 955271"/>
              <a:gd name="connsiteX41" fmla="*/ 2601109 w 5741575"/>
              <a:gd name="connsiteY41" fmla="*/ 410678 h 955271"/>
              <a:gd name="connsiteX42" fmla="*/ 2643855 w 5741575"/>
              <a:gd name="connsiteY42" fmla="*/ 374482 h 955271"/>
              <a:gd name="connsiteX43" fmla="*/ 2657726 w 5741575"/>
              <a:gd name="connsiteY43" fmla="*/ 365841 h 955271"/>
              <a:gd name="connsiteX44" fmla="*/ 2687125 w 5741575"/>
              <a:gd name="connsiteY44" fmla="*/ 366820 h 955271"/>
              <a:gd name="connsiteX45" fmla="*/ 2697479 w 5741575"/>
              <a:gd name="connsiteY45" fmla="*/ 361430 h 955271"/>
              <a:gd name="connsiteX46" fmla="*/ 2701547 w 5741575"/>
              <a:gd name="connsiteY46" fmla="*/ 361545 h 955271"/>
              <a:gd name="connsiteX47" fmla="*/ 2711054 w 5741575"/>
              <a:gd name="connsiteY47" fmla="*/ 360597 h 955271"/>
              <a:gd name="connsiteX48" fmla="*/ 2710438 w 5741575"/>
              <a:gd name="connsiteY48" fmla="*/ 366958 h 955271"/>
              <a:gd name="connsiteX49" fmla="*/ 2722936 w 5741575"/>
              <a:gd name="connsiteY49" fmla="*/ 377633 h 955271"/>
              <a:gd name="connsiteX50" fmla="*/ 2777227 w 5741575"/>
              <a:gd name="connsiteY50" fmla="*/ 368972 h 955271"/>
              <a:gd name="connsiteX51" fmla="*/ 2779510 w 5741575"/>
              <a:gd name="connsiteY51" fmla="*/ 361652 h 955271"/>
              <a:gd name="connsiteX52" fmla="*/ 2786278 w 5741575"/>
              <a:gd name="connsiteY52" fmla="*/ 359869 h 955271"/>
              <a:gd name="connsiteX53" fmla="*/ 2792101 w 5741575"/>
              <a:gd name="connsiteY53" fmla="*/ 365927 h 955271"/>
              <a:gd name="connsiteX54" fmla="*/ 2885545 w 5741575"/>
              <a:gd name="connsiteY54" fmla="*/ 372818 h 955271"/>
              <a:gd name="connsiteX55" fmla="*/ 3009558 w 5741575"/>
              <a:gd name="connsiteY55" fmla="*/ 370573 h 955271"/>
              <a:gd name="connsiteX56" fmla="*/ 3095010 w 5741575"/>
              <a:gd name="connsiteY56" fmla="*/ 332454 h 955271"/>
              <a:gd name="connsiteX57" fmla="*/ 3103742 w 5741575"/>
              <a:gd name="connsiteY57" fmla="*/ 337974 h 955271"/>
              <a:gd name="connsiteX58" fmla="*/ 3165093 w 5741575"/>
              <a:gd name="connsiteY58" fmla="*/ 329459 h 955271"/>
              <a:gd name="connsiteX59" fmla="*/ 3373785 w 5741575"/>
              <a:gd name="connsiteY59" fmla="*/ 255680 h 955271"/>
              <a:gd name="connsiteX60" fmla="*/ 3493851 w 5741575"/>
              <a:gd name="connsiteY60" fmla="*/ 240255 h 955271"/>
              <a:gd name="connsiteX61" fmla="*/ 3537470 w 5741575"/>
              <a:gd name="connsiteY61" fmla="*/ 241867 h 955271"/>
              <a:gd name="connsiteX62" fmla="*/ 3610489 w 5741575"/>
              <a:gd name="connsiteY62" fmla="*/ 244128 h 955271"/>
              <a:gd name="connsiteX63" fmla="*/ 3667539 w 5741575"/>
              <a:gd name="connsiteY63" fmla="*/ 263271 h 955271"/>
              <a:gd name="connsiteX64" fmla="*/ 3727614 w 5741575"/>
              <a:gd name="connsiteY64" fmla="*/ 258245 h 955271"/>
              <a:gd name="connsiteX65" fmla="*/ 3738369 w 5741575"/>
              <a:gd name="connsiteY65" fmla="*/ 234506 h 955271"/>
              <a:gd name="connsiteX66" fmla="*/ 3803670 w 5741575"/>
              <a:gd name="connsiteY66" fmla="*/ 236457 h 955271"/>
              <a:gd name="connsiteX67" fmla="*/ 3903080 w 5741575"/>
              <a:gd name="connsiteY67" fmla="*/ 241890 h 955271"/>
              <a:gd name="connsiteX68" fmla="*/ 4114838 w 5741575"/>
              <a:gd name="connsiteY68" fmla="*/ 238165 h 955271"/>
              <a:gd name="connsiteX69" fmla="*/ 4271023 w 5741575"/>
              <a:gd name="connsiteY69" fmla="*/ 241959 h 955271"/>
              <a:gd name="connsiteX70" fmla="*/ 4367397 w 5741575"/>
              <a:gd name="connsiteY70" fmla="*/ 271442 h 955271"/>
              <a:gd name="connsiteX71" fmla="*/ 4495366 w 5741575"/>
              <a:gd name="connsiteY71" fmla="*/ 271618 h 955271"/>
              <a:gd name="connsiteX72" fmla="*/ 4517347 w 5741575"/>
              <a:gd name="connsiteY72" fmla="*/ 275639 h 955271"/>
              <a:gd name="connsiteX73" fmla="*/ 4546116 w 5741575"/>
              <a:gd name="connsiteY73" fmla="*/ 268568 h 955271"/>
              <a:gd name="connsiteX74" fmla="*/ 4661259 w 5741575"/>
              <a:gd name="connsiteY74" fmla="*/ 238966 h 955271"/>
              <a:gd name="connsiteX75" fmla="*/ 4750403 w 5741575"/>
              <a:gd name="connsiteY75" fmla="*/ 204364 h 955271"/>
              <a:gd name="connsiteX76" fmla="*/ 4867614 w 5741575"/>
              <a:gd name="connsiteY76" fmla="*/ 208668 h 955271"/>
              <a:gd name="connsiteX77" fmla="*/ 4937036 w 5741575"/>
              <a:gd name="connsiteY77" fmla="*/ 195446 h 955271"/>
              <a:gd name="connsiteX78" fmla="*/ 5047626 w 5741575"/>
              <a:gd name="connsiteY78" fmla="*/ 149604 h 955271"/>
              <a:gd name="connsiteX79" fmla="*/ 5200247 w 5741575"/>
              <a:gd name="connsiteY79" fmla="*/ 142695 h 955271"/>
              <a:gd name="connsiteX80" fmla="*/ 5235691 w 5741575"/>
              <a:gd name="connsiteY80" fmla="*/ 173330 h 955271"/>
              <a:gd name="connsiteX81" fmla="*/ 5280133 w 5741575"/>
              <a:gd name="connsiteY81" fmla="*/ 189342 h 955271"/>
              <a:gd name="connsiteX82" fmla="*/ 5291963 w 5741575"/>
              <a:gd name="connsiteY82" fmla="*/ 139446 h 955271"/>
              <a:gd name="connsiteX83" fmla="*/ 5418472 w 5741575"/>
              <a:gd name="connsiteY83" fmla="*/ 89163 h 955271"/>
              <a:gd name="connsiteX84" fmla="*/ 5482354 w 5741575"/>
              <a:gd name="connsiteY84" fmla="*/ 69470 h 955271"/>
              <a:gd name="connsiteX85" fmla="*/ 5583280 w 5741575"/>
              <a:gd name="connsiteY85" fmla="*/ 49787 h 955271"/>
              <a:gd name="connsiteX86" fmla="*/ 5613766 w 5741575"/>
              <a:gd name="connsiteY86" fmla="*/ 41855 h 955271"/>
              <a:gd name="connsiteX87" fmla="*/ 5684952 w 5741575"/>
              <a:gd name="connsiteY87" fmla="*/ 26088 h 955271"/>
              <a:gd name="connsiteX88" fmla="*/ 5741575 w 5741575"/>
              <a:gd name="connsiteY88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0426 w 5741575"/>
              <a:gd name="connsiteY22" fmla="*/ 721810 h 955271"/>
              <a:gd name="connsiteX23" fmla="*/ 1306771 w 5741575"/>
              <a:gd name="connsiteY23" fmla="*/ 717936 h 955271"/>
              <a:gd name="connsiteX24" fmla="*/ 1374314 w 5741575"/>
              <a:gd name="connsiteY24" fmla="*/ 688815 h 955271"/>
              <a:gd name="connsiteX25" fmla="*/ 1378034 w 5741575"/>
              <a:gd name="connsiteY25" fmla="*/ 685842 h 955271"/>
              <a:gd name="connsiteX26" fmla="*/ 1395604 w 5741575"/>
              <a:gd name="connsiteY26" fmla="*/ 680460 h 955271"/>
              <a:gd name="connsiteX27" fmla="*/ 1397206 w 5741575"/>
              <a:gd name="connsiteY27" fmla="*/ 670793 h 955271"/>
              <a:gd name="connsiteX28" fmla="*/ 1441364 w 5741575"/>
              <a:gd name="connsiteY28" fmla="*/ 661393 h 955271"/>
              <a:gd name="connsiteX29" fmla="*/ 1494753 w 5741575"/>
              <a:gd name="connsiteY29" fmla="*/ 644686 h 955271"/>
              <a:gd name="connsiteX30" fmla="*/ 1616217 w 5741575"/>
              <a:gd name="connsiteY30" fmla="*/ 622107 h 955271"/>
              <a:gd name="connsiteX31" fmla="*/ 1710928 w 5741575"/>
              <a:gd name="connsiteY31" fmla="*/ 600666 h 955271"/>
              <a:gd name="connsiteX32" fmla="*/ 1743718 w 5741575"/>
              <a:gd name="connsiteY32" fmla="*/ 584327 h 955271"/>
              <a:gd name="connsiteX33" fmla="*/ 1873778 w 5741575"/>
              <a:gd name="connsiteY33" fmla="*/ 530130 h 955271"/>
              <a:gd name="connsiteX34" fmla="*/ 1988411 w 5741575"/>
              <a:gd name="connsiteY34" fmla="*/ 491599 h 955271"/>
              <a:gd name="connsiteX35" fmla="*/ 2085507 w 5741575"/>
              <a:gd name="connsiteY35" fmla="*/ 498527 h 955271"/>
              <a:gd name="connsiteX36" fmla="*/ 2090767 w 5741575"/>
              <a:gd name="connsiteY36" fmla="*/ 490616 h 955271"/>
              <a:gd name="connsiteX37" fmla="*/ 2151143 w 5741575"/>
              <a:gd name="connsiteY37" fmla="*/ 478332 h 955271"/>
              <a:gd name="connsiteX38" fmla="*/ 2378710 w 5741575"/>
              <a:gd name="connsiteY38" fmla="*/ 477570 h 955271"/>
              <a:gd name="connsiteX39" fmla="*/ 2496256 w 5741575"/>
              <a:gd name="connsiteY39" fmla="*/ 452396 h 955271"/>
              <a:gd name="connsiteX40" fmla="*/ 2535387 w 5741575"/>
              <a:gd name="connsiteY40" fmla="*/ 436645 h 955271"/>
              <a:gd name="connsiteX41" fmla="*/ 2601109 w 5741575"/>
              <a:gd name="connsiteY41" fmla="*/ 410678 h 955271"/>
              <a:gd name="connsiteX42" fmla="*/ 2643855 w 5741575"/>
              <a:gd name="connsiteY42" fmla="*/ 374482 h 955271"/>
              <a:gd name="connsiteX43" fmla="*/ 2657726 w 5741575"/>
              <a:gd name="connsiteY43" fmla="*/ 365841 h 955271"/>
              <a:gd name="connsiteX44" fmla="*/ 2687125 w 5741575"/>
              <a:gd name="connsiteY44" fmla="*/ 366820 h 955271"/>
              <a:gd name="connsiteX45" fmla="*/ 2697479 w 5741575"/>
              <a:gd name="connsiteY45" fmla="*/ 361430 h 955271"/>
              <a:gd name="connsiteX46" fmla="*/ 2701547 w 5741575"/>
              <a:gd name="connsiteY46" fmla="*/ 361545 h 955271"/>
              <a:gd name="connsiteX47" fmla="*/ 2711054 w 5741575"/>
              <a:gd name="connsiteY47" fmla="*/ 360597 h 955271"/>
              <a:gd name="connsiteX48" fmla="*/ 2710438 w 5741575"/>
              <a:gd name="connsiteY48" fmla="*/ 366958 h 955271"/>
              <a:gd name="connsiteX49" fmla="*/ 2722936 w 5741575"/>
              <a:gd name="connsiteY49" fmla="*/ 377633 h 955271"/>
              <a:gd name="connsiteX50" fmla="*/ 2777227 w 5741575"/>
              <a:gd name="connsiteY50" fmla="*/ 368972 h 955271"/>
              <a:gd name="connsiteX51" fmla="*/ 2779510 w 5741575"/>
              <a:gd name="connsiteY51" fmla="*/ 361652 h 955271"/>
              <a:gd name="connsiteX52" fmla="*/ 2786278 w 5741575"/>
              <a:gd name="connsiteY52" fmla="*/ 359869 h 955271"/>
              <a:gd name="connsiteX53" fmla="*/ 2792101 w 5741575"/>
              <a:gd name="connsiteY53" fmla="*/ 365927 h 955271"/>
              <a:gd name="connsiteX54" fmla="*/ 2885545 w 5741575"/>
              <a:gd name="connsiteY54" fmla="*/ 372818 h 955271"/>
              <a:gd name="connsiteX55" fmla="*/ 3009558 w 5741575"/>
              <a:gd name="connsiteY55" fmla="*/ 370573 h 955271"/>
              <a:gd name="connsiteX56" fmla="*/ 3095010 w 5741575"/>
              <a:gd name="connsiteY56" fmla="*/ 332454 h 955271"/>
              <a:gd name="connsiteX57" fmla="*/ 3103742 w 5741575"/>
              <a:gd name="connsiteY57" fmla="*/ 337974 h 955271"/>
              <a:gd name="connsiteX58" fmla="*/ 3165093 w 5741575"/>
              <a:gd name="connsiteY58" fmla="*/ 329459 h 955271"/>
              <a:gd name="connsiteX59" fmla="*/ 3373785 w 5741575"/>
              <a:gd name="connsiteY59" fmla="*/ 255680 h 955271"/>
              <a:gd name="connsiteX60" fmla="*/ 3493851 w 5741575"/>
              <a:gd name="connsiteY60" fmla="*/ 240255 h 955271"/>
              <a:gd name="connsiteX61" fmla="*/ 3537470 w 5741575"/>
              <a:gd name="connsiteY61" fmla="*/ 241867 h 955271"/>
              <a:gd name="connsiteX62" fmla="*/ 3610489 w 5741575"/>
              <a:gd name="connsiteY62" fmla="*/ 244128 h 955271"/>
              <a:gd name="connsiteX63" fmla="*/ 3667539 w 5741575"/>
              <a:gd name="connsiteY63" fmla="*/ 263271 h 955271"/>
              <a:gd name="connsiteX64" fmla="*/ 3727614 w 5741575"/>
              <a:gd name="connsiteY64" fmla="*/ 258245 h 955271"/>
              <a:gd name="connsiteX65" fmla="*/ 3738369 w 5741575"/>
              <a:gd name="connsiteY65" fmla="*/ 234506 h 955271"/>
              <a:gd name="connsiteX66" fmla="*/ 3803670 w 5741575"/>
              <a:gd name="connsiteY66" fmla="*/ 236457 h 955271"/>
              <a:gd name="connsiteX67" fmla="*/ 3903080 w 5741575"/>
              <a:gd name="connsiteY67" fmla="*/ 241890 h 955271"/>
              <a:gd name="connsiteX68" fmla="*/ 4114838 w 5741575"/>
              <a:gd name="connsiteY68" fmla="*/ 238165 h 955271"/>
              <a:gd name="connsiteX69" fmla="*/ 4271023 w 5741575"/>
              <a:gd name="connsiteY69" fmla="*/ 241959 h 955271"/>
              <a:gd name="connsiteX70" fmla="*/ 4367397 w 5741575"/>
              <a:gd name="connsiteY70" fmla="*/ 271442 h 955271"/>
              <a:gd name="connsiteX71" fmla="*/ 4495366 w 5741575"/>
              <a:gd name="connsiteY71" fmla="*/ 271618 h 955271"/>
              <a:gd name="connsiteX72" fmla="*/ 4517347 w 5741575"/>
              <a:gd name="connsiteY72" fmla="*/ 275639 h 955271"/>
              <a:gd name="connsiteX73" fmla="*/ 4546116 w 5741575"/>
              <a:gd name="connsiteY73" fmla="*/ 268568 h 955271"/>
              <a:gd name="connsiteX74" fmla="*/ 4661259 w 5741575"/>
              <a:gd name="connsiteY74" fmla="*/ 238966 h 955271"/>
              <a:gd name="connsiteX75" fmla="*/ 4750403 w 5741575"/>
              <a:gd name="connsiteY75" fmla="*/ 204364 h 955271"/>
              <a:gd name="connsiteX76" fmla="*/ 4867614 w 5741575"/>
              <a:gd name="connsiteY76" fmla="*/ 208668 h 955271"/>
              <a:gd name="connsiteX77" fmla="*/ 4937036 w 5741575"/>
              <a:gd name="connsiteY77" fmla="*/ 195446 h 955271"/>
              <a:gd name="connsiteX78" fmla="*/ 5047626 w 5741575"/>
              <a:gd name="connsiteY78" fmla="*/ 149604 h 955271"/>
              <a:gd name="connsiteX79" fmla="*/ 5200247 w 5741575"/>
              <a:gd name="connsiteY79" fmla="*/ 142695 h 955271"/>
              <a:gd name="connsiteX80" fmla="*/ 5235691 w 5741575"/>
              <a:gd name="connsiteY80" fmla="*/ 173330 h 955271"/>
              <a:gd name="connsiteX81" fmla="*/ 5280133 w 5741575"/>
              <a:gd name="connsiteY81" fmla="*/ 189342 h 955271"/>
              <a:gd name="connsiteX82" fmla="*/ 5291963 w 5741575"/>
              <a:gd name="connsiteY82" fmla="*/ 139446 h 955271"/>
              <a:gd name="connsiteX83" fmla="*/ 5418472 w 5741575"/>
              <a:gd name="connsiteY83" fmla="*/ 89163 h 955271"/>
              <a:gd name="connsiteX84" fmla="*/ 5482354 w 5741575"/>
              <a:gd name="connsiteY84" fmla="*/ 69470 h 955271"/>
              <a:gd name="connsiteX85" fmla="*/ 5583280 w 5741575"/>
              <a:gd name="connsiteY85" fmla="*/ 49787 h 955271"/>
              <a:gd name="connsiteX86" fmla="*/ 5613766 w 5741575"/>
              <a:gd name="connsiteY86" fmla="*/ 41855 h 955271"/>
              <a:gd name="connsiteX87" fmla="*/ 5684952 w 5741575"/>
              <a:gd name="connsiteY87" fmla="*/ 26088 h 955271"/>
              <a:gd name="connsiteX88" fmla="*/ 5741575 w 5741575"/>
              <a:gd name="connsiteY88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0426 w 5741575"/>
              <a:gd name="connsiteY22" fmla="*/ 721810 h 955271"/>
              <a:gd name="connsiteX23" fmla="*/ 1306771 w 5741575"/>
              <a:gd name="connsiteY23" fmla="*/ 717936 h 955271"/>
              <a:gd name="connsiteX24" fmla="*/ 1374314 w 5741575"/>
              <a:gd name="connsiteY24" fmla="*/ 688815 h 955271"/>
              <a:gd name="connsiteX25" fmla="*/ 1378034 w 5741575"/>
              <a:gd name="connsiteY25" fmla="*/ 685842 h 955271"/>
              <a:gd name="connsiteX26" fmla="*/ 1395604 w 5741575"/>
              <a:gd name="connsiteY26" fmla="*/ 680460 h 955271"/>
              <a:gd name="connsiteX27" fmla="*/ 1397206 w 5741575"/>
              <a:gd name="connsiteY27" fmla="*/ 670793 h 955271"/>
              <a:gd name="connsiteX28" fmla="*/ 1494753 w 5741575"/>
              <a:gd name="connsiteY28" fmla="*/ 644686 h 955271"/>
              <a:gd name="connsiteX29" fmla="*/ 1616217 w 5741575"/>
              <a:gd name="connsiteY29" fmla="*/ 622107 h 955271"/>
              <a:gd name="connsiteX30" fmla="*/ 1710928 w 5741575"/>
              <a:gd name="connsiteY30" fmla="*/ 600666 h 955271"/>
              <a:gd name="connsiteX31" fmla="*/ 1743718 w 5741575"/>
              <a:gd name="connsiteY31" fmla="*/ 584327 h 955271"/>
              <a:gd name="connsiteX32" fmla="*/ 1873778 w 5741575"/>
              <a:gd name="connsiteY32" fmla="*/ 530130 h 955271"/>
              <a:gd name="connsiteX33" fmla="*/ 1988411 w 5741575"/>
              <a:gd name="connsiteY33" fmla="*/ 491599 h 955271"/>
              <a:gd name="connsiteX34" fmla="*/ 2085507 w 5741575"/>
              <a:gd name="connsiteY34" fmla="*/ 498527 h 955271"/>
              <a:gd name="connsiteX35" fmla="*/ 2090767 w 5741575"/>
              <a:gd name="connsiteY35" fmla="*/ 490616 h 955271"/>
              <a:gd name="connsiteX36" fmla="*/ 2151143 w 5741575"/>
              <a:gd name="connsiteY36" fmla="*/ 478332 h 955271"/>
              <a:gd name="connsiteX37" fmla="*/ 2378710 w 5741575"/>
              <a:gd name="connsiteY37" fmla="*/ 477570 h 955271"/>
              <a:gd name="connsiteX38" fmla="*/ 2496256 w 5741575"/>
              <a:gd name="connsiteY38" fmla="*/ 452396 h 955271"/>
              <a:gd name="connsiteX39" fmla="*/ 2535387 w 5741575"/>
              <a:gd name="connsiteY39" fmla="*/ 436645 h 955271"/>
              <a:gd name="connsiteX40" fmla="*/ 2601109 w 5741575"/>
              <a:gd name="connsiteY40" fmla="*/ 410678 h 955271"/>
              <a:gd name="connsiteX41" fmla="*/ 2643855 w 5741575"/>
              <a:gd name="connsiteY41" fmla="*/ 374482 h 955271"/>
              <a:gd name="connsiteX42" fmla="*/ 2657726 w 5741575"/>
              <a:gd name="connsiteY42" fmla="*/ 365841 h 955271"/>
              <a:gd name="connsiteX43" fmla="*/ 2687125 w 5741575"/>
              <a:gd name="connsiteY43" fmla="*/ 366820 h 955271"/>
              <a:gd name="connsiteX44" fmla="*/ 2697479 w 5741575"/>
              <a:gd name="connsiteY44" fmla="*/ 361430 h 955271"/>
              <a:gd name="connsiteX45" fmla="*/ 2701547 w 5741575"/>
              <a:gd name="connsiteY45" fmla="*/ 361545 h 955271"/>
              <a:gd name="connsiteX46" fmla="*/ 2711054 w 5741575"/>
              <a:gd name="connsiteY46" fmla="*/ 360597 h 955271"/>
              <a:gd name="connsiteX47" fmla="*/ 2710438 w 5741575"/>
              <a:gd name="connsiteY47" fmla="*/ 366958 h 955271"/>
              <a:gd name="connsiteX48" fmla="*/ 2722936 w 5741575"/>
              <a:gd name="connsiteY48" fmla="*/ 377633 h 955271"/>
              <a:gd name="connsiteX49" fmla="*/ 2777227 w 5741575"/>
              <a:gd name="connsiteY49" fmla="*/ 368972 h 955271"/>
              <a:gd name="connsiteX50" fmla="*/ 2779510 w 5741575"/>
              <a:gd name="connsiteY50" fmla="*/ 361652 h 955271"/>
              <a:gd name="connsiteX51" fmla="*/ 2786278 w 5741575"/>
              <a:gd name="connsiteY51" fmla="*/ 359869 h 955271"/>
              <a:gd name="connsiteX52" fmla="*/ 2792101 w 5741575"/>
              <a:gd name="connsiteY52" fmla="*/ 365927 h 955271"/>
              <a:gd name="connsiteX53" fmla="*/ 2885545 w 5741575"/>
              <a:gd name="connsiteY53" fmla="*/ 372818 h 955271"/>
              <a:gd name="connsiteX54" fmla="*/ 3009558 w 5741575"/>
              <a:gd name="connsiteY54" fmla="*/ 370573 h 955271"/>
              <a:gd name="connsiteX55" fmla="*/ 3095010 w 5741575"/>
              <a:gd name="connsiteY55" fmla="*/ 332454 h 955271"/>
              <a:gd name="connsiteX56" fmla="*/ 3103742 w 5741575"/>
              <a:gd name="connsiteY56" fmla="*/ 337974 h 955271"/>
              <a:gd name="connsiteX57" fmla="*/ 3165093 w 5741575"/>
              <a:gd name="connsiteY57" fmla="*/ 329459 h 955271"/>
              <a:gd name="connsiteX58" fmla="*/ 3373785 w 5741575"/>
              <a:gd name="connsiteY58" fmla="*/ 255680 h 955271"/>
              <a:gd name="connsiteX59" fmla="*/ 3493851 w 5741575"/>
              <a:gd name="connsiteY59" fmla="*/ 240255 h 955271"/>
              <a:gd name="connsiteX60" fmla="*/ 3537470 w 5741575"/>
              <a:gd name="connsiteY60" fmla="*/ 241867 h 955271"/>
              <a:gd name="connsiteX61" fmla="*/ 3610489 w 5741575"/>
              <a:gd name="connsiteY61" fmla="*/ 244128 h 955271"/>
              <a:gd name="connsiteX62" fmla="*/ 3667539 w 5741575"/>
              <a:gd name="connsiteY62" fmla="*/ 263271 h 955271"/>
              <a:gd name="connsiteX63" fmla="*/ 3727614 w 5741575"/>
              <a:gd name="connsiteY63" fmla="*/ 258245 h 955271"/>
              <a:gd name="connsiteX64" fmla="*/ 3738369 w 5741575"/>
              <a:gd name="connsiteY64" fmla="*/ 234506 h 955271"/>
              <a:gd name="connsiteX65" fmla="*/ 3803670 w 5741575"/>
              <a:gd name="connsiteY65" fmla="*/ 236457 h 955271"/>
              <a:gd name="connsiteX66" fmla="*/ 3903080 w 5741575"/>
              <a:gd name="connsiteY66" fmla="*/ 241890 h 955271"/>
              <a:gd name="connsiteX67" fmla="*/ 4114838 w 5741575"/>
              <a:gd name="connsiteY67" fmla="*/ 238165 h 955271"/>
              <a:gd name="connsiteX68" fmla="*/ 4271023 w 5741575"/>
              <a:gd name="connsiteY68" fmla="*/ 241959 h 955271"/>
              <a:gd name="connsiteX69" fmla="*/ 4367397 w 5741575"/>
              <a:gd name="connsiteY69" fmla="*/ 271442 h 955271"/>
              <a:gd name="connsiteX70" fmla="*/ 4495366 w 5741575"/>
              <a:gd name="connsiteY70" fmla="*/ 271618 h 955271"/>
              <a:gd name="connsiteX71" fmla="*/ 4517347 w 5741575"/>
              <a:gd name="connsiteY71" fmla="*/ 275639 h 955271"/>
              <a:gd name="connsiteX72" fmla="*/ 4546116 w 5741575"/>
              <a:gd name="connsiteY72" fmla="*/ 268568 h 955271"/>
              <a:gd name="connsiteX73" fmla="*/ 4661259 w 5741575"/>
              <a:gd name="connsiteY73" fmla="*/ 238966 h 955271"/>
              <a:gd name="connsiteX74" fmla="*/ 4750403 w 5741575"/>
              <a:gd name="connsiteY74" fmla="*/ 204364 h 955271"/>
              <a:gd name="connsiteX75" fmla="*/ 4867614 w 5741575"/>
              <a:gd name="connsiteY75" fmla="*/ 208668 h 955271"/>
              <a:gd name="connsiteX76" fmla="*/ 4937036 w 5741575"/>
              <a:gd name="connsiteY76" fmla="*/ 195446 h 955271"/>
              <a:gd name="connsiteX77" fmla="*/ 5047626 w 5741575"/>
              <a:gd name="connsiteY77" fmla="*/ 149604 h 955271"/>
              <a:gd name="connsiteX78" fmla="*/ 5200247 w 5741575"/>
              <a:gd name="connsiteY78" fmla="*/ 142695 h 955271"/>
              <a:gd name="connsiteX79" fmla="*/ 5235691 w 5741575"/>
              <a:gd name="connsiteY79" fmla="*/ 173330 h 955271"/>
              <a:gd name="connsiteX80" fmla="*/ 5280133 w 5741575"/>
              <a:gd name="connsiteY80" fmla="*/ 189342 h 955271"/>
              <a:gd name="connsiteX81" fmla="*/ 5291963 w 5741575"/>
              <a:gd name="connsiteY81" fmla="*/ 139446 h 955271"/>
              <a:gd name="connsiteX82" fmla="*/ 5418472 w 5741575"/>
              <a:gd name="connsiteY82" fmla="*/ 89163 h 955271"/>
              <a:gd name="connsiteX83" fmla="*/ 5482354 w 5741575"/>
              <a:gd name="connsiteY83" fmla="*/ 69470 h 955271"/>
              <a:gd name="connsiteX84" fmla="*/ 5583280 w 5741575"/>
              <a:gd name="connsiteY84" fmla="*/ 49787 h 955271"/>
              <a:gd name="connsiteX85" fmla="*/ 5613766 w 5741575"/>
              <a:gd name="connsiteY85" fmla="*/ 41855 h 955271"/>
              <a:gd name="connsiteX86" fmla="*/ 5684952 w 5741575"/>
              <a:gd name="connsiteY86" fmla="*/ 26088 h 955271"/>
              <a:gd name="connsiteX87" fmla="*/ 5741575 w 5741575"/>
              <a:gd name="connsiteY87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306771 w 5741575"/>
              <a:gd name="connsiteY22" fmla="*/ 717936 h 955271"/>
              <a:gd name="connsiteX23" fmla="*/ 1374314 w 5741575"/>
              <a:gd name="connsiteY23" fmla="*/ 688815 h 955271"/>
              <a:gd name="connsiteX24" fmla="*/ 1378034 w 5741575"/>
              <a:gd name="connsiteY24" fmla="*/ 685842 h 955271"/>
              <a:gd name="connsiteX25" fmla="*/ 1395604 w 5741575"/>
              <a:gd name="connsiteY25" fmla="*/ 680460 h 955271"/>
              <a:gd name="connsiteX26" fmla="*/ 1397206 w 5741575"/>
              <a:gd name="connsiteY26" fmla="*/ 670793 h 955271"/>
              <a:gd name="connsiteX27" fmla="*/ 1494753 w 5741575"/>
              <a:gd name="connsiteY27" fmla="*/ 644686 h 955271"/>
              <a:gd name="connsiteX28" fmla="*/ 1616217 w 5741575"/>
              <a:gd name="connsiteY28" fmla="*/ 622107 h 955271"/>
              <a:gd name="connsiteX29" fmla="*/ 1710928 w 5741575"/>
              <a:gd name="connsiteY29" fmla="*/ 600666 h 955271"/>
              <a:gd name="connsiteX30" fmla="*/ 1743718 w 5741575"/>
              <a:gd name="connsiteY30" fmla="*/ 584327 h 955271"/>
              <a:gd name="connsiteX31" fmla="*/ 1873778 w 5741575"/>
              <a:gd name="connsiteY31" fmla="*/ 530130 h 955271"/>
              <a:gd name="connsiteX32" fmla="*/ 1988411 w 5741575"/>
              <a:gd name="connsiteY32" fmla="*/ 491599 h 955271"/>
              <a:gd name="connsiteX33" fmla="*/ 2085507 w 5741575"/>
              <a:gd name="connsiteY33" fmla="*/ 498527 h 955271"/>
              <a:gd name="connsiteX34" fmla="*/ 2090767 w 5741575"/>
              <a:gd name="connsiteY34" fmla="*/ 490616 h 955271"/>
              <a:gd name="connsiteX35" fmla="*/ 2151143 w 5741575"/>
              <a:gd name="connsiteY35" fmla="*/ 478332 h 955271"/>
              <a:gd name="connsiteX36" fmla="*/ 2378710 w 5741575"/>
              <a:gd name="connsiteY36" fmla="*/ 477570 h 955271"/>
              <a:gd name="connsiteX37" fmla="*/ 2496256 w 5741575"/>
              <a:gd name="connsiteY37" fmla="*/ 452396 h 955271"/>
              <a:gd name="connsiteX38" fmla="*/ 2535387 w 5741575"/>
              <a:gd name="connsiteY38" fmla="*/ 436645 h 955271"/>
              <a:gd name="connsiteX39" fmla="*/ 2601109 w 5741575"/>
              <a:gd name="connsiteY39" fmla="*/ 410678 h 955271"/>
              <a:gd name="connsiteX40" fmla="*/ 2643855 w 5741575"/>
              <a:gd name="connsiteY40" fmla="*/ 374482 h 955271"/>
              <a:gd name="connsiteX41" fmla="*/ 2657726 w 5741575"/>
              <a:gd name="connsiteY41" fmla="*/ 365841 h 955271"/>
              <a:gd name="connsiteX42" fmla="*/ 2687125 w 5741575"/>
              <a:gd name="connsiteY42" fmla="*/ 366820 h 955271"/>
              <a:gd name="connsiteX43" fmla="*/ 2697479 w 5741575"/>
              <a:gd name="connsiteY43" fmla="*/ 361430 h 955271"/>
              <a:gd name="connsiteX44" fmla="*/ 2701547 w 5741575"/>
              <a:gd name="connsiteY44" fmla="*/ 361545 h 955271"/>
              <a:gd name="connsiteX45" fmla="*/ 2711054 w 5741575"/>
              <a:gd name="connsiteY45" fmla="*/ 360597 h 955271"/>
              <a:gd name="connsiteX46" fmla="*/ 2710438 w 5741575"/>
              <a:gd name="connsiteY46" fmla="*/ 366958 h 955271"/>
              <a:gd name="connsiteX47" fmla="*/ 2722936 w 5741575"/>
              <a:gd name="connsiteY47" fmla="*/ 377633 h 955271"/>
              <a:gd name="connsiteX48" fmla="*/ 2777227 w 5741575"/>
              <a:gd name="connsiteY48" fmla="*/ 368972 h 955271"/>
              <a:gd name="connsiteX49" fmla="*/ 2779510 w 5741575"/>
              <a:gd name="connsiteY49" fmla="*/ 361652 h 955271"/>
              <a:gd name="connsiteX50" fmla="*/ 2786278 w 5741575"/>
              <a:gd name="connsiteY50" fmla="*/ 359869 h 955271"/>
              <a:gd name="connsiteX51" fmla="*/ 2792101 w 5741575"/>
              <a:gd name="connsiteY51" fmla="*/ 365927 h 955271"/>
              <a:gd name="connsiteX52" fmla="*/ 2885545 w 5741575"/>
              <a:gd name="connsiteY52" fmla="*/ 372818 h 955271"/>
              <a:gd name="connsiteX53" fmla="*/ 3009558 w 5741575"/>
              <a:gd name="connsiteY53" fmla="*/ 370573 h 955271"/>
              <a:gd name="connsiteX54" fmla="*/ 3095010 w 5741575"/>
              <a:gd name="connsiteY54" fmla="*/ 332454 h 955271"/>
              <a:gd name="connsiteX55" fmla="*/ 3103742 w 5741575"/>
              <a:gd name="connsiteY55" fmla="*/ 337974 h 955271"/>
              <a:gd name="connsiteX56" fmla="*/ 3165093 w 5741575"/>
              <a:gd name="connsiteY56" fmla="*/ 329459 h 955271"/>
              <a:gd name="connsiteX57" fmla="*/ 3373785 w 5741575"/>
              <a:gd name="connsiteY57" fmla="*/ 255680 h 955271"/>
              <a:gd name="connsiteX58" fmla="*/ 3493851 w 5741575"/>
              <a:gd name="connsiteY58" fmla="*/ 240255 h 955271"/>
              <a:gd name="connsiteX59" fmla="*/ 3537470 w 5741575"/>
              <a:gd name="connsiteY59" fmla="*/ 241867 h 955271"/>
              <a:gd name="connsiteX60" fmla="*/ 3610489 w 5741575"/>
              <a:gd name="connsiteY60" fmla="*/ 244128 h 955271"/>
              <a:gd name="connsiteX61" fmla="*/ 3667539 w 5741575"/>
              <a:gd name="connsiteY61" fmla="*/ 263271 h 955271"/>
              <a:gd name="connsiteX62" fmla="*/ 3727614 w 5741575"/>
              <a:gd name="connsiteY62" fmla="*/ 258245 h 955271"/>
              <a:gd name="connsiteX63" fmla="*/ 3738369 w 5741575"/>
              <a:gd name="connsiteY63" fmla="*/ 234506 h 955271"/>
              <a:gd name="connsiteX64" fmla="*/ 3803670 w 5741575"/>
              <a:gd name="connsiteY64" fmla="*/ 236457 h 955271"/>
              <a:gd name="connsiteX65" fmla="*/ 3903080 w 5741575"/>
              <a:gd name="connsiteY65" fmla="*/ 241890 h 955271"/>
              <a:gd name="connsiteX66" fmla="*/ 4114838 w 5741575"/>
              <a:gd name="connsiteY66" fmla="*/ 238165 h 955271"/>
              <a:gd name="connsiteX67" fmla="*/ 4271023 w 5741575"/>
              <a:gd name="connsiteY67" fmla="*/ 241959 h 955271"/>
              <a:gd name="connsiteX68" fmla="*/ 4367397 w 5741575"/>
              <a:gd name="connsiteY68" fmla="*/ 271442 h 955271"/>
              <a:gd name="connsiteX69" fmla="*/ 4495366 w 5741575"/>
              <a:gd name="connsiteY69" fmla="*/ 271618 h 955271"/>
              <a:gd name="connsiteX70" fmla="*/ 4517347 w 5741575"/>
              <a:gd name="connsiteY70" fmla="*/ 275639 h 955271"/>
              <a:gd name="connsiteX71" fmla="*/ 4546116 w 5741575"/>
              <a:gd name="connsiteY71" fmla="*/ 268568 h 955271"/>
              <a:gd name="connsiteX72" fmla="*/ 4661259 w 5741575"/>
              <a:gd name="connsiteY72" fmla="*/ 238966 h 955271"/>
              <a:gd name="connsiteX73" fmla="*/ 4750403 w 5741575"/>
              <a:gd name="connsiteY73" fmla="*/ 204364 h 955271"/>
              <a:gd name="connsiteX74" fmla="*/ 4867614 w 5741575"/>
              <a:gd name="connsiteY74" fmla="*/ 208668 h 955271"/>
              <a:gd name="connsiteX75" fmla="*/ 4937036 w 5741575"/>
              <a:gd name="connsiteY75" fmla="*/ 195446 h 955271"/>
              <a:gd name="connsiteX76" fmla="*/ 5047626 w 5741575"/>
              <a:gd name="connsiteY76" fmla="*/ 149604 h 955271"/>
              <a:gd name="connsiteX77" fmla="*/ 5200247 w 5741575"/>
              <a:gd name="connsiteY77" fmla="*/ 142695 h 955271"/>
              <a:gd name="connsiteX78" fmla="*/ 5235691 w 5741575"/>
              <a:gd name="connsiteY78" fmla="*/ 173330 h 955271"/>
              <a:gd name="connsiteX79" fmla="*/ 5280133 w 5741575"/>
              <a:gd name="connsiteY79" fmla="*/ 189342 h 955271"/>
              <a:gd name="connsiteX80" fmla="*/ 5291963 w 5741575"/>
              <a:gd name="connsiteY80" fmla="*/ 139446 h 955271"/>
              <a:gd name="connsiteX81" fmla="*/ 5418472 w 5741575"/>
              <a:gd name="connsiteY81" fmla="*/ 89163 h 955271"/>
              <a:gd name="connsiteX82" fmla="*/ 5482354 w 5741575"/>
              <a:gd name="connsiteY82" fmla="*/ 69470 h 955271"/>
              <a:gd name="connsiteX83" fmla="*/ 5583280 w 5741575"/>
              <a:gd name="connsiteY83" fmla="*/ 49787 h 955271"/>
              <a:gd name="connsiteX84" fmla="*/ 5613766 w 5741575"/>
              <a:gd name="connsiteY84" fmla="*/ 41855 h 955271"/>
              <a:gd name="connsiteX85" fmla="*/ 5684952 w 5741575"/>
              <a:gd name="connsiteY85" fmla="*/ 26088 h 955271"/>
              <a:gd name="connsiteX86" fmla="*/ 5741575 w 5741575"/>
              <a:gd name="connsiteY86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6314 w 5741575"/>
              <a:gd name="connsiteY22" fmla="*/ 722473 h 955271"/>
              <a:gd name="connsiteX23" fmla="*/ 1374314 w 5741575"/>
              <a:gd name="connsiteY23" fmla="*/ 688815 h 955271"/>
              <a:gd name="connsiteX24" fmla="*/ 1378034 w 5741575"/>
              <a:gd name="connsiteY24" fmla="*/ 685842 h 955271"/>
              <a:gd name="connsiteX25" fmla="*/ 1395604 w 5741575"/>
              <a:gd name="connsiteY25" fmla="*/ 680460 h 955271"/>
              <a:gd name="connsiteX26" fmla="*/ 1397206 w 5741575"/>
              <a:gd name="connsiteY26" fmla="*/ 670793 h 955271"/>
              <a:gd name="connsiteX27" fmla="*/ 1494753 w 5741575"/>
              <a:gd name="connsiteY27" fmla="*/ 644686 h 955271"/>
              <a:gd name="connsiteX28" fmla="*/ 1616217 w 5741575"/>
              <a:gd name="connsiteY28" fmla="*/ 622107 h 955271"/>
              <a:gd name="connsiteX29" fmla="*/ 1710928 w 5741575"/>
              <a:gd name="connsiteY29" fmla="*/ 600666 h 955271"/>
              <a:gd name="connsiteX30" fmla="*/ 1743718 w 5741575"/>
              <a:gd name="connsiteY30" fmla="*/ 584327 h 955271"/>
              <a:gd name="connsiteX31" fmla="*/ 1873778 w 5741575"/>
              <a:gd name="connsiteY31" fmla="*/ 530130 h 955271"/>
              <a:gd name="connsiteX32" fmla="*/ 1988411 w 5741575"/>
              <a:gd name="connsiteY32" fmla="*/ 491599 h 955271"/>
              <a:gd name="connsiteX33" fmla="*/ 2085507 w 5741575"/>
              <a:gd name="connsiteY33" fmla="*/ 498527 h 955271"/>
              <a:gd name="connsiteX34" fmla="*/ 2090767 w 5741575"/>
              <a:gd name="connsiteY34" fmla="*/ 490616 h 955271"/>
              <a:gd name="connsiteX35" fmla="*/ 2151143 w 5741575"/>
              <a:gd name="connsiteY35" fmla="*/ 478332 h 955271"/>
              <a:gd name="connsiteX36" fmla="*/ 2378710 w 5741575"/>
              <a:gd name="connsiteY36" fmla="*/ 477570 h 955271"/>
              <a:gd name="connsiteX37" fmla="*/ 2496256 w 5741575"/>
              <a:gd name="connsiteY37" fmla="*/ 452396 h 955271"/>
              <a:gd name="connsiteX38" fmla="*/ 2535387 w 5741575"/>
              <a:gd name="connsiteY38" fmla="*/ 436645 h 955271"/>
              <a:gd name="connsiteX39" fmla="*/ 2601109 w 5741575"/>
              <a:gd name="connsiteY39" fmla="*/ 410678 h 955271"/>
              <a:gd name="connsiteX40" fmla="*/ 2643855 w 5741575"/>
              <a:gd name="connsiteY40" fmla="*/ 374482 h 955271"/>
              <a:gd name="connsiteX41" fmla="*/ 2657726 w 5741575"/>
              <a:gd name="connsiteY41" fmla="*/ 365841 h 955271"/>
              <a:gd name="connsiteX42" fmla="*/ 2687125 w 5741575"/>
              <a:gd name="connsiteY42" fmla="*/ 366820 h 955271"/>
              <a:gd name="connsiteX43" fmla="*/ 2697479 w 5741575"/>
              <a:gd name="connsiteY43" fmla="*/ 361430 h 955271"/>
              <a:gd name="connsiteX44" fmla="*/ 2701547 w 5741575"/>
              <a:gd name="connsiteY44" fmla="*/ 361545 h 955271"/>
              <a:gd name="connsiteX45" fmla="*/ 2711054 w 5741575"/>
              <a:gd name="connsiteY45" fmla="*/ 360597 h 955271"/>
              <a:gd name="connsiteX46" fmla="*/ 2710438 w 5741575"/>
              <a:gd name="connsiteY46" fmla="*/ 366958 h 955271"/>
              <a:gd name="connsiteX47" fmla="*/ 2722936 w 5741575"/>
              <a:gd name="connsiteY47" fmla="*/ 377633 h 955271"/>
              <a:gd name="connsiteX48" fmla="*/ 2777227 w 5741575"/>
              <a:gd name="connsiteY48" fmla="*/ 368972 h 955271"/>
              <a:gd name="connsiteX49" fmla="*/ 2779510 w 5741575"/>
              <a:gd name="connsiteY49" fmla="*/ 361652 h 955271"/>
              <a:gd name="connsiteX50" fmla="*/ 2786278 w 5741575"/>
              <a:gd name="connsiteY50" fmla="*/ 359869 h 955271"/>
              <a:gd name="connsiteX51" fmla="*/ 2792101 w 5741575"/>
              <a:gd name="connsiteY51" fmla="*/ 365927 h 955271"/>
              <a:gd name="connsiteX52" fmla="*/ 2885545 w 5741575"/>
              <a:gd name="connsiteY52" fmla="*/ 372818 h 955271"/>
              <a:gd name="connsiteX53" fmla="*/ 3009558 w 5741575"/>
              <a:gd name="connsiteY53" fmla="*/ 370573 h 955271"/>
              <a:gd name="connsiteX54" fmla="*/ 3095010 w 5741575"/>
              <a:gd name="connsiteY54" fmla="*/ 332454 h 955271"/>
              <a:gd name="connsiteX55" fmla="*/ 3103742 w 5741575"/>
              <a:gd name="connsiteY55" fmla="*/ 337974 h 955271"/>
              <a:gd name="connsiteX56" fmla="*/ 3165093 w 5741575"/>
              <a:gd name="connsiteY56" fmla="*/ 329459 h 955271"/>
              <a:gd name="connsiteX57" fmla="*/ 3373785 w 5741575"/>
              <a:gd name="connsiteY57" fmla="*/ 255680 h 955271"/>
              <a:gd name="connsiteX58" fmla="*/ 3493851 w 5741575"/>
              <a:gd name="connsiteY58" fmla="*/ 240255 h 955271"/>
              <a:gd name="connsiteX59" fmla="*/ 3537470 w 5741575"/>
              <a:gd name="connsiteY59" fmla="*/ 241867 h 955271"/>
              <a:gd name="connsiteX60" fmla="*/ 3610489 w 5741575"/>
              <a:gd name="connsiteY60" fmla="*/ 244128 h 955271"/>
              <a:gd name="connsiteX61" fmla="*/ 3667539 w 5741575"/>
              <a:gd name="connsiteY61" fmla="*/ 263271 h 955271"/>
              <a:gd name="connsiteX62" fmla="*/ 3727614 w 5741575"/>
              <a:gd name="connsiteY62" fmla="*/ 258245 h 955271"/>
              <a:gd name="connsiteX63" fmla="*/ 3738369 w 5741575"/>
              <a:gd name="connsiteY63" fmla="*/ 234506 h 955271"/>
              <a:gd name="connsiteX64" fmla="*/ 3803670 w 5741575"/>
              <a:gd name="connsiteY64" fmla="*/ 236457 h 955271"/>
              <a:gd name="connsiteX65" fmla="*/ 3903080 w 5741575"/>
              <a:gd name="connsiteY65" fmla="*/ 241890 h 955271"/>
              <a:gd name="connsiteX66" fmla="*/ 4114838 w 5741575"/>
              <a:gd name="connsiteY66" fmla="*/ 238165 h 955271"/>
              <a:gd name="connsiteX67" fmla="*/ 4271023 w 5741575"/>
              <a:gd name="connsiteY67" fmla="*/ 241959 h 955271"/>
              <a:gd name="connsiteX68" fmla="*/ 4367397 w 5741575"/>
              <a:gd name="connsiteY68" fmla="*/ 271442 h 955271"/>
              <a:gd name="connsiteX69" fmla="*/ 4495366 w 5741575"/>
              <a:gd name="connsiteY69" fmla="*/ 271618 h 955271"/>
              <a:gd name="connsiteX70" fmla="*/ 4517347 w 5741575"/>
              <a:gd name="connsiteY70" fmla="*/ 275639 h 955271"/>
              <a:gd name="connsiteX71" fmla="*/ 4546116 w 5741575"/>
              <a:gd name="connsiteY71" fmla="*/ 268568 h 955271"/>
              <a:gd name="connsiteX72" fmla="*/ 4661259 w 5741575"/>
              <a:gd name="connsiteY72" fmla="*/ 238966 h 955271"/>
              <a:gd name="connsiteX73" fmla="*/ 4750403 w 5741575"/>
              <a:gd name="connsiteY73" fmla="*/ 204364 h 955271"/>
              <a:gd name="connsiteX74" fmla="*/ 4867614 w 5741575"/>
              <a:gd name="connsiteY74" fmla="*/ 208668 h 955271"/>
              <a:gd name="connsiteX75" fmla="*/ 4937036 w 5741575"/>
              <a:gd name="connsiteY75" fmla="*/ 195446 h 955271"/>
              <a:gd name="connsiteX76" fmla="*/ 5047626 w 5741575"/>
              <a:gd name="connsiteY76" fmla="*/ 149604 h 955271"/>
              <a:gd name="connsiteX77" fmla="*/ 5200247 w 5741575"/>
              <a:gd name="connsiteY77" fmla="*/ 142695 h 955271"/>
              <a:gd name="connsiteX78" fmla="*/ 5235691 w 5741575"/>
              <a:gd name="connsiteY78" fmla="*/ 173330 h 955271"/>
              <a:gd name="connsiteX79" fmla="*/ 5280133 w 5741575"/>
              <a:gd name="connsiteY79" fmla="*/ 189342 h 955271"/>
              <a:gd name="connsiteX80" fmla="*/ 5291963 w 5741575"/>
              <a:gd name="connsiteY80" fmla="*/ 139446 h 955271"/>
              <a:gd name="connsiteX81" fmla="*/ 5418472 w 5741575"/>
              <a:gd name="connsiteY81" fmla="*/ 89163 h 955271"/>
              <a:gd name="connsiteX82" fmla="*/ 5482354 w 5741575"/>
              <a:gd name="connsiteY82" fmla="*/ 69470 h 955271"/>
              <a:gd name="connsiteX83" fmla="*/ 5583280 w 5741575"/>
              <a:gd name="connsiteY83" fmla="*/ 49787 h 955271"/>
              <a:gd name="connsiteX84" fmla="*/ 5613766 w 5741575"/>
              <a:gd name="connsiteY84" fmla="*/ 41855 h 955271"/>
              <a:gd name="connsiteX85" fmla="*/ 5684952 w 5741575"/>
              <a:gd name="connsiteY85" fmla="*/ 26088 h 955271"/>
              <a:gd name="connsiteX86" fmla="*/ 5741575 w 5741575"/>
              <a:gd name="connsiteY86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6314 w 5741575"/>
              <a:gd name="connsiteY22" fmla="*/ 722473 h 955271"/>
              <a:gd name="connsiteX23" fmla="*/ 1374314 w 5741575"/>
              <a:gd name="connsiteY23" fmla="*/ 688815 h 955271"/>
              <a:gd name="connsiteX24" fmla="*/ 1378034 w 5741575"/>
              <a:gd name="connsiteY24" fmla="*/ 685842 h 955271"/>
              <a:gd name="connsiteX25" fmla="*/ 1395604 w 5741575"/>
              <a:gd name="connsiteY25" fmla="*/ 680460 h 955271"/>
              <a:gd name="connsiteX26" fmla="*/ 1412292 w 5741575"/>
              <a:gd name="connsiteY26" fmla="*/ 670793 h 955271"/>
              <a:gd name="connsiteX27" fmla="*/ 1494753 w 5741575"/>
              <a:gd name="connsiteY27" fmla="*/ 644686 h 955271"/>
              <a:gd name="connsiteX28" fmla="*/ 1616217 w 5741575"/>
              <a:gd name="connsiteY28" fmla="*/ 622107 h 955271"/>
              <a:gd name="connsiteX29" fmla="*/ 1710928 w 5741575"/>
              <a:gd name="connsiteY29" fmla="*/ 600666 h 955271"/>
              <a:gd name="connsiteX30" fmla="*/ 1743718 w 5741575"/>
              <a:gd name="connsiteY30" fmla="*/ 584327 h 955271"/>
              <a:gd name="connsiteX31" fmla="*/ 1873778 w 5741575"/>
              <a:gd name="connsiteY31" fmla="*/ 530130 h 955271"/>
              <a:gd name="connsiteX32" fmla="*/ 1988411 w 5741575"/>
              <a:gd name="connsiteY32" fmla="*/ 491599 h 955271"/>
              <a:gd name="connsiteX33" fmla="*/ 2085507 w 5741575"/>
              <a:gd name="connsiteY33" fmla="*/ 498527 h 955271"/>
              <a:gd name="connsiteX34" fmla="*/ 2090767 w 5741575"/>
              <a:gd name="connsiteY34" fmla="*/ 490616 h 955271"/>
              <a:gd name="connsiteX35" fmla="*/ 2151143 w 5741575"/>
              <a:gd name="connsiteY35" fmla="*/ 478332 h 955271"/>
              <a:gd name="connsiteX36" fmla="*/ 2378710 w 5741575"/>
              <a:gd name="connsiteY36" fmla="*/ 477570 h 955271"/>
              <a:gd name="connsiteX37" fmla="*/ 2496256 w 5741575"/>
              <a:gd name="connsiteY37" fmla="*/ 452396 h 955271"/>
              <a:gd name="connsiteX38" fmla="*/ 2535387 w 5741575"/>
              <a:gd name="connsiteY38" fmla="*/ 436645 h 955271"/>
              <a:gd name="connsiteX39" fmla="*/ 2601109 w 5741575"/>
              <a:gd name="connsiteY39" fmla="*/ 410678 h 955271"/>
              <a:gd name="connsiteX40" fmla="*/ 2643855 w 5741575"/>
              <a:gd name="connsiteY40" fmla="*/ 374482 h 955271"/>
              <a:gd name="connsiteX41" fmla="*/ 2657726 w 5741575"/>
              <a:gd name="connsiteY41" fmla="*/ 365841 h 955271"/>
              <a:gd name="connsiteX42" fmla="*/ 2687125 w 5741575"/>
              <a:gd name="connsiteY42" fmla="*/ 366820 h 955271"/>
              <a:gd name="connsiteX43" fmla="*/ 2697479 w 5741575"/>
              <a:gd name="connsiteY43" fmla="*/ 361430 h 955271"/>
              <a:gd name="connsiteX44" fmla="*/ 2701547 w 5741575"/>
              <a:gd name="connsiteY44" fmla="*/ 361545 h 955271"/>
              <a:gd name="connsiteX45" fmla="*/ 2711054 w 5741575"/>
              <a:gd name="connsiteY45" fmla="*/ 360597 h 955271"/>
              <a:gd name="connsiteX46" fmla="*/ 2710438 w 5741575"/>
              <a:gd name="connsiteY46" fmla="*/ 366958 h 955271"/>
              <a:gd name="connsiteX47" fmla="*/ 2722936 w 5741575"/>
              <a:gd name="connsiteY47" fmla="*/ 377633 h 955271"/>
              <a:gd name="connsiteX48" fmla="*/ 2777227 w 5741575"/>
              <a:gd name="connsiteY48" fmla="*/ 368972 h 955271"/>
              <a:gd name="connsiteX49" fmla="*/ 2779510 w 5741575"/>
              <a:gd name="connsiteY49" fmla="*/ 361652 h 955271"/>
              <a:gd name="connsiteX50" fmla="*/ 2786278 w 5741575"/>
              <a:gd name="connsiteY50" fmla="*/ 359869 h 955271"/>
              <a:gd name="connsiteX51" fmla="*/ 2792101 w 5741575"/>
              <a:gd name="connsiteY51" fmla="*/ 365927 h 955271"/>
              <a:gd name="connsiteX52" fmla="*/ 2885545 w 5741575"/>
              <a:gd name="connsiteY52" fmla="*/ 372818 h 955271"/>
              <a:gd name="connsiteX53" fmla="*/ 3009558 w 5741575"/>
              <a:gd name="connsiteY53" fmla="*/ 370573 h 955271"/>
              <a:gd name="connsiteX54" fmla="*/ 3095010 w 5741575"/>
              <a:gd name="connsiteY54" fmla="*/ 332454 h 955271"/>
              <a:gd name="connsiteX55" fmla="*/ 3103742 w 5741575"/>
              <a:gd name="connsiteY55" fmla="*/ 337974 h 955271"/>
              <a:gd name="connsiteX56" fmla="*/ 3165093 w 5741575"/>
              <a:gd name="connsiteY56" fmla="*/ 329459 h 955271"/>
              <a:gd name="connsiteX57" fmla="*/ 3373785 w 5741575"/>
              <a:gd name="connsiteY57" fmla="*/ 255680 h 955271"/>
              <a:gd name="connsiteX58" fmla="*/ 3493851 w 5741575"/>
              <a:gd name="connsiteY58" fmla="*/ 240255 h 955271"/>
              <a:gd name="connsiteX59" fmla="*/ 3537470 w 5741575"/>
              <a:gd name="connsiteY59" fmla="*/ 241867 h 955271"/>
              <a:gd name="connsiteX60" fmla="*/ 3610489 w 5741575"/>
              <a:gd name="connsiteY60" fmla="*/ 244128 h 955271"/>
              <a:gd name="connsiteX61" fmla="*/ 3667539 w 5741575"/>
              <a:gd name="connsiteY61" fmla="*/ 263271 h 955271"/>
              <a:gd name="connsiteX62" fmla="*/ 3727614 w 5741575"/>
              <a:gd name="connsiteY62" fmla="*/ 258245 h 955271"/>
              <a:gd name="connsiteX63" fmla="*/ 3738369 w 5741575"/>
              <a:gd name="connsiteY63" fmla="*/ 234506 h 955271"/>
              <a:gd name="connsiteX64" fmla="*/ 3803670 w 5741575"/>
              <a:gd name="connsiteY64" fmla="*/ 236457 h 955271"/>
              <a:gd name="connsiteX65" fmla="*/ 3903080 w 5741575"/>
              <a:gd name="connsiteY65" fmla="*/ 241890 h 955271"/>
              <a:gd name="connsiteX66" fmla="*/ 4114838 w 5741575"/>
              <a:gd name="connsiteY66" fmla="*/ 238165 h 955271"/>
              <a:gd name="connsiteX67" fmla="*/ 4271023 w 5741575"/>
              <a:gd name="connsiteY67" fmla="*/ 241959 h 955271"/>
              <a:gd name="connsiteX68" fmla="*/ 4367397 w 5741575"/>
              <a:gd name="connsiteY68" fmla="*/ 271442 h 955271"/>
              <a:gd name="connsiteX69" fmla="*/ 4495366 w 5741575"/>
              <a:gd name="connsiteY69" fmla="*/ 271618 h 955271"/>
              <a:gd name="connsiteX70" fmla="*/ 4517347 w 5741575"/>
              <a:gd name="connsiteY70" fmla="*/ 275639 h 955271"/>
              <a:gd name="connsiteX71" fmla="*/ 4546116 w 5741575"/>
              <a:gd name="connsiteY71" fmla="*/ 268568 h 955271"/>
              <a:gd name="connsiteX72" fmla="*/ 4661259 w 5741575"/>
              <a:gd name="connsiteY72" fmla="*/ 238966 h 955271"/>
              <a:gd name="connsiteX73" fmla="*/ 4750403 w 5741575"/>
              <a:gd name="connsiteY73" fmla="*/ 204364 h 955271"/>
              <a:gd name="connsiteX74" fmla="*/ 4867614 w 5741575"/>
              <a:gd name="connsiteY74" fmla="*/ 208668 h 955271"/>
              <a:gd name="connsiteX75" fmla="*/ 4937036 w 5741575"/>
              <a:gd name="connsiteY75" fmla="*/ 195446 h 955271"/>
              <a:gd name="connsiteX76" fmla="*/ 5047626 w 5741575"/>
              <a:gd name="connsiteY76" fmla="*/ 149604 h 955271"/>
              <a:gd name="connsiteX77" fmla="*/ 5200247 w 5741575"/>
              <a:gd name="connsiteY77" fmla="*/ 142695 h 955271"/>
              <a:gd name="connsiteX78" fmla="*/ 5235691 w 5741575"/>
              <a:gd name="connsiteY78" fmla="*/ 173330 h 955271"/>
              <a:gd name="connsiteX79" fmla="*/ 5280133 w 5741575"/>
              <a:gd name="connsiteY79" fmla="*/ 189342 h 955271"/>
              <a:gd name="connsiteX80" fmla="*/ 5291963 w 5741575"/>
              <a:gd name="connsiteY80" fmla="*/ 139446 h 955271"/>
              <a:gd name="connsiteX81" fmla="*/ 5418472 w 5741575"/>
              <a:gd name="connsiteY81" fmla="*/ 89163 h 955271"/>
              <a:gd name="connsiteX82" fmla="*/ 5482354 w 5741575"/>
              <a:gd name="connsiteY82" fmla="*/ 69470 h 955271"/>
              <a:gd name="connsiteX83" fmla="*/ 5583280 w 5741575"/>
              <a:gd name="connsiteY83" fmla="*/ 49787 h 955271"/>
              <a:gd name="connsiteX84" fmla="*/ 5613766 w 5741575"/>
              <a:gd name="connsiteY84" fmla="*/ 41855 h 955271"/>
              <a:gd name="connsiteX85" fmla="*/ 5684952 w 5741575"/>
              <a:gd name="connsiteY85" fmla="*/ 26088 h 955271"/>
              <a:gd name="connsiteX86" fmla="*/ 5741575 w 5741575"/>
              <a:gd name="connsiteY86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6314 w 5741575"/>
              <a:gd name="connsiteY22" fmla="*/ 722473 h 955271"/>
              <a:gd name="connsiteX23" fmla="*/ 1374314 w 5741575"/>
              <a:gd name="connsiteY23" fmla="*/ 688815 h 955271"/>
              <a:gd name="connsiteX24" fmla="*/ 1378034 w 5741575"/>
              <a:gd name="connsiteY24" fmla="*/ 685842 h 955271"/>
              <a:gd name="connsiteX25" fmla="*/ 1435833 w 5741575"/>
              <a:gd name="connsiteY25" fmla="*/ 857427 h 955271"/>
              <a:gd name="connsiteX26" fmla="*/ 1412292 w 5741575"/>
              <a:gd name="connsiteY26" fmla="*/ 670793 h 955271"/>
              <a:gd name="connsiteX27" fmla="*/ 1494753 w 5741575"/>
              <a:gd name="connsiteY27" fmla="*/ 644686 h 955271"/>
              <a:gd name="connsiteX28" fmla="*/ 1616217 w 5741575"/>
              <a:gd name="connsiteY28" fmla="*/ 622107 h 955271"/>
              <a:gd name="connsiteX29" fmla="*/ 1710928 w 5741575"/>
              <a:gd name="connsiteY29" fmla="*/ 600666 h 955271"/>
              <a:gd name="connsiteX30" fmla="*/ 1743718 w 5741575"/>
              <a:gd name="connsiteY30" fmla="*/ 584327 h 955271"/>
              <a:gd name="connsiteX31" fmla="*/ 1873778 w 5741575"/>
              <a:gd name="connsiteY31" fmla="*/ 530130 h 955271"/>
              <a:gd name="connsiteX32" fmla="*/ 1988411 w 5741575"/>
              <a:gd name="connsiteY32" fmla="*/ 491599 h 955271"/>
              <a:gd name="connsiteX33" fmla="*/ 2085507 w 5741575"/>
              <a:gd name="connsiteY33" fmla="*/ 498527 h 955271"/>
              <a:gd name="connsiteX34" fmla="*/ 2090767 w 5741575"/>
              <a:gd name="connsiteY34" fmla="*/ 490616 h 955271"/>
              <a:gd name="connsiteX35" fmla="*/ 2151143 w 5741575"/>
              <a:gd name="connsiteY35" fmla="*/ 478332 h 955271"/>
              <a:gd name="connsiteX36" fmla="*/ 2378710 w 5741575"/>
              <a:gd name="connsiteY36" fmla="*/ 477570 h 955271"/>
              <a:gd name="connsiteX37" fmla="*/ 2496256 w 5741575"/>
              <a:gd name="connsiteY37" fmla="*/ 452396 h 955271"/>
              <a:gd name="connsiteX38" fmla="*/ 2535387 w 5741575"/>
              <a:gd name="connsiteY38" fmla="*/ 436645 h 955271"/>
              <a:gd name="connsiteX39" fmla="*/ 2601109 w 5741575"/>
              <a:gd name="connsiteY39" fmla="*/ 410678 h 955271"/>
              <a:gd name="connsiteX40" fmla="*/ 2643855 w 5741575"/>
              <a:gd name="connsiteY40" fmla="*/ 374482 h 955271"/>
              <a:gd name="connsiteX41" fmla="*/ 2657726 w 5741575"/>
              <a:gd name="connsiteY41" fmla="*/ 365841 h 955271"/>
              <a:gd name="connsiteX42" fmla="*/ 2687125 w 5741575"/>
              <a:gd name="connsiteY42" fmla="*/ 366820 h 955271"/>
              <a:gd name="connsiteX43" fmla="*/ 2697479 w 5741575"/>
              <a:gd name="connsiteY43" fmla="*/ 361430 h 955271"/>
              <a:gd name="connsiteX44" fmla="*/ 2701547 w 5741575"/>
              <a:gd name="connsiteY44" fmla="*/ 361545 h 955271"/>
              <a:gd name="connsiteX45" fmla="*/ 2711054 w 5741575"/>
              <a:gd name="connsiteY45" fmla="*/ 360597 h 955271"/>
              <a:gd name="connsiteX46" fmla="*/ 2710438 w 5741575"/>
              <a:gd name="connsiteY46" fmla="*/ 366958 h 955271"/>
              <a:gd name="connsiteX47" fmla="*/ 2722936 w 5741575"/>
              <a:gd name="connsiteY47" fmla="*/ 377633 h 955271"/>
              <a:gd name="connsiteX48" fmla="*/ 2777227 w 5741575"/>
              <a:gd name="connsiteY48" fmla="*/ 368972 h 955271"/>
              <a:gd name="connsiteX49" fmla="*/ 2779510 w 5741575"/>
              <a:gd name="connsiteY49" fmla="*/ 361652 h 955271"/>
              <a:gd name="connsiteX50" fmla="*/ 2786278 w 5741575"/>
              <a:gd name="connsiteY50" fmla="*/ 359869 h 955271"/>
              <a:gd name="connsiteX51" fmla="*/ 2792101 w 5741575"/>
              <a:gd name="connsiteY51" fmla="*/ 365927 h 955271"/>
              <a:gd name="connsiteX52" fmla="*/ 2885545 w 5741575"/>
              <a:gd name="connsiteY52" fmla="*/ 372818 h 955271"/>
              <a:gd name="connsiteX53" fmla="*/ 3009558 w 5741575"/>
              <a:gd name="connsiteY53" fmla="*/ 370573 h 955271"/>
              <a:gd name="connsiteX54" fmla="*/ 3095010 w 5741575"/>
              <a:gd name="connsiteY54" fmla="*/ 332454 h 955271"/>
              <a:gd name="connsiteX55" fmla="*/ 3103742 w 5741575"/>
              <a:gd name="connsiteY55" fmla="*/ 337974 h 955271"/>
              <a:gd name="connsiteX56" fmla="*/ 3165093 w 5741575"/>
              <a:gd name="connsiteY56" fmla="*/ 329459 h 955271"/>
              <a:gd name="connsiteX57" fmla="*/ 3373785 w 5741575"/>
              <a:gd name="connsiteY57" fmla="*/ 255680 h 955271"/>
              <a:gd name="connsiteX58" fmla="*/ 3493851 w 5741575"/>
              <a:gd name="connsiteY58" fmla="*/ 240255 h 955271"/>
              <a:gd name="connsiteX59" fmla="*/ 3537470 w 5741575"/>
              <a:gd name="connsiteY59" fmla="*/ 241867 h 955271"/>
              <a:gd name="connsiteX60" fmla="*/ 3610489 w 5741575"/>
              <a:gd name="connsiteY60" fmla="*/ 244128 h 955271"/>
              <a:gd name="connsiteX61" fmla="*/ 3667539 w 5741575"/>
              <a:gd name="connsiteY61" fmla="*/ 263271 h 955271"/>
              <a:gd name="connsiteX62" fmla="*/ 3727614 w 5741575"/>
              <a:gd name="connsiteY62" fmla="*/ 258245 h 955271"/>
              <a:gd name="connsiteX63" fmla="*/ 3738369 w 5741575"/>
              <a:gd name="connsiteY63" fmla="*/ 234506 h 955271"/>
              <a:gd name="connsiteX64" fmla="*/ 3803670 w 5741575"/>
              <a:gd name="connsiteY64" fmla="*/ 236457 h 955271"/>
              <a:gd name="connsiteX65" fmla="*/ 3903080 w 5741575"/>
              <a:gd name="connsiteY65" fmla="*/ 241890 h 955271"/>
              <a:gd name="connsiteX66" fmla="*/ 4114838 w 5741575"/>
              <a:gd name="connsiteY66" fmla="*/ 238165 h 955271"/>
              <a:gd name="connsiteX67" fmla="*/ 4271023 w 5741575"/>
              <a:gd name="connsiteY67" fmla="*/ 241959 h 955271"/>
              <a:gd name="connsiteX68" fmla="*/ 4367397 w 5741575"/>
              <a:gd name="connsiteY68" fmla="*/ 271442 h 955271"/>
              <a:gd name="connsiteX69" fmla="*/ 4495366 w 5741575"/>
              <a:gd name="connsiteY69" fmla="*/ 271618 h 955271"/>
              <a:gd name="connsiteX70" fmla="*/ 4517347 w 5741575"/>
              <a:gd name="connsiteY70" fmla="*/ 275639 h 955271"/>
              <a:gd name="connsiteX71" fmla="*/ 4546116 w 5741575"/>
              <a:gd name="connsiteY71" fmla="*/ 268568 h 955271"/>
              <a:gd name="connsiteX72" fmla="*/ 4661259 w 5741575"/>
              <a:gd name="connsiteY72" fmla="*/ 238966 h 955271"/>
              <a:gd name="connsiteX73" fmla="*/ 4750403 w 5741575"/>
              <a:gd name="connsiteY73" fmla="*/ 204364 h 955271"/>
              <a:gd name="connsiteX74" fmla="*/ 4867614 w 5741575"/>
              <a:gd name="connsiteY74" fmla="*/ 208668 h 955271"/>
              <a:gd name="connsiteX75" fmla="*/ 4937036 w 5741575"/>
              <a:gd name="connsiteY75" fmla="*/ 195446 h 955271"/>
              <a:gd name="connsiteX76" fmla="*/ 5047626 w 5741575"/>
              <a:gd name="connsiteY76" fmla="*/ 149604 h 955271"/>
              <a:gd name="connsiteX77" fmla="*/ 5200247 w 5741575"/>
              <a:gd name="connsiteY77" fmla="*/ 142695 h 955271"/>
              <a:gd name="connsiteX78" fmla="*/ 5235691 w 5741575"/>
              <a:gd name="connsiteY78" fmla="*/ 173330 h 955271"/>
              <a:gd name="connsiteX79" fmla="*/ 5280133 w 5741575"/>
              <a:gd name="connsiteY79" fmla="*/ 189342 h 955271"/>
              <a:gd name="connsiteX80" fmla="*/ 5291963 w 5741575"/>
              <a:gd name="connsiteY80" fmla="*/ 139446 h 955271"/>
              <a:gd name="connsiteX81" fmla="*/ 5418472 w 5741575"/>
              <a:gd name="connsiteY81" fmla="*/ 89163 h 955271"/>
              <a:gd name="connsiteX82" fmla="*/ 5482354 w 5741575"/>
              <a:gd name="connsiteY82" fmla="*/ 69470 h 955271"/>
              <a:gd name="connsiteX83" fmla="*/ 5583280 w 5741575"/>
              <a:gd name="connsiteY83" fmla="*/ 49787 h 955271"/>
              <a:gd name="connsiteX84" fmla="*/ 5613766 w 5741575"/>
              <a:gd name="connsiteY84" fmla="*/ 41855 h 955271"/>
              <a:gd name="connsiteX85" fmla="*/ 5684952 w 5741575"/>
              <a:gd name="connsiteY85" fmla="*/ 26088 h 955271"/>
              <a:gd name="connsiteX86" fmla="*/ 5741575 w 5741575"/>
              <a:gd name="connsiteY86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6314 w 5741575"/>
              <a:gd name="connsiteY22" fmla="*/ 722473 h 955271"/>
              <a:gd name="connsiteX23" fmla="*/ 1374314 w 5741575"/>
              <a:gd name="connsiteY23" fmla="*/ 688815 h 955271"/>
              <a:gd name="connsiteX24" fmla="*/ 1342834 w 5741575"/>
              <a:gd name="connsiteY24" fmla="*/ 753906 h 955271"/>
              <a:gd name="connsiteX25" fmla="*/ 1435833 w 5741575"/>
              <a:gd name="connsiteY25" fmla="*/ 857427 h 955271"/>
              <a:gd name="connsiteX26" fmla="*/ 1412292 w 5741575"/>
              <a:gd name="connsiteY26" fmla="*/ 670793 h 955271"/>
              <a:gd name="connsiteX27" fmla="*/ 1494753 w 5741575"/>
              <a:gd name="connsiteY27" fmla="*/ 644686 h 955271"/>
              <a:gd name="connsiteX28" fmla="*/ 1616217 w 5741575"/>
              <a:gd name="connsiteY28" fmla="*/ 622107 h 955271"/>
              <a:gd name="connsiteX29" fmla="*/ 1710928 w 5741575"/>
              <a:gd name="connsiteY29" fmla="*/ 600666 h 955271"/>
              <a:gd name="connsiteX30" fmla="*/ 1743718 w 5741575"/>
              <a:gd name="connsiteY30" fmla="*/ 584327 h 955271"/>
              <a:gd name="connsiteX31" fmla="*/ 1873778 w 5741575"/>
              <a:gd name="connsiteY31" fmla="*/ 530130 h 955271"/>
              <a:gd name="connsiteX32" fmla="*/ 1988411 w 5741575"/>
              <a:gd name="connsiteY32" fmla="*/ 491599 h 955271"/>
              <a:gd name="connsiteX33" fmla="*/ 2085507 w 5741575"/>
              <a:gd name="connsiteY33" fmla="*/ 498527 h 955271"/>
              <a:gd name="connsiteX34" fmla="*/ 2090767 w 5741575"/>
              <a:gd name="connsiteY34" fmla="*/ 490616 h 955271"/>
              <a:gd name="connsiteX35" fmla="*/ 2151143 w 5741575"/>
              <a:gd name="connsiteY35" fmla="*/ 478332 h 955271"/>
              <a:gd name="connsiteX36" fmla="*/ 2378710 w 5741575"/>
              <a:gd name="connsiteY36" fmla="*/ 477570 h 955271"/>
              <a:gd name="connsiteX37" fmla="*/ 2496256 w 5741575"/>
              <a:gd name="connsiteY37" fmla="*/ 452396 h 955271"/>
              <a:gd name="connsiteX38" fmla="*/ 2535387 w 5741575"/>
              <a:gd name="connsiteY38" fmla="*/ 436645 h 955271"/>
              <a:gd name="connsiteX39" fmla="*/ 2601109 w 5741575"/>
              <a:gd name="connsiteY39" fmla="*/ 410678 h 955271"/>
              <a:gd name="connsiteX40" fmla="*/ 2643855 w 5741575"/>
              <a:gd name="connsiteY40" fmla="*/ 374482 h 955271"/>
              <a:gd name="connsiteX41" fmla="*/ 2657726 w 5741575"/>
              <a:gd name="connsiteY41" fmla="*/ 365841 h 955271"/>
              <a:gd name="connsiteX42" fmla="*/ 2687125 w 5741575"/>
              <a:gd name="connsiteY42" fmla="*/ 366820 h 955271"/>
              <a:gd name="connsiteX43" fmla="*/ 2697479 w 5741575"/>
              <a:gd name="connsiteY43" fmla="*/ 361430 h 955271"/>
              <a:gd name="connsiteX44" fmla="*/ 2701547 w 5741575"/>
              <a:gd name="connsiteY44" fmla="*/ 361545 h 955271"/>
              <a:gd name="connsiteX45" fmla="*/ 2711054 w 5741575"/>
              <a:gd name="connsiteY45" fmla="*/ 360597 h 955271"/>
              <a:gd name="connsiteX46" fmla="*/ 2710438 w 5741575"/>
              <a:gd name="connsiteY46" fmla="*/ 366958 h 955271"/>
              <a:gd name="connsiteX47" fmla="*/ 2722936 w 5741575"/>
              <a:gd name="connsiteY47" fmla="*/ 377633 h 955271"/>
              <a:gd name="connsiteX48" fmla="*/ 2777227 w 5741575"/>
              <a:gd name="connsiteY48" fmla="*/ 368972 h 955271"/>
              <a:gd name="connsiteX49" fmla="*/ 2779510 w 5741575"/>
              <a:gd name="connsiteY49" fmla="*/ 361652 h 955271"/>
              <a:gd name="connsiteX50" fmla="*/ 2786278 w 5741575"/>
              <a:gd name="connsiteY50" fmla="*/ 359869 h 955271"/>
              <a:gd name="connsiteX51" fmla="*/ 2792101 w 5741575"/>
              <a:gd name="connsiteY51" fmla="*/ 365927 h 955271"/>
              <a:gd name="connsiteX52" fmla="*/ 2885545 w 5741575"/>
              <a:gd name="connsiteY52" fmla="*/ 372818 h 955271"/>
              <a:gd name="connsiteX53" fmla="*/ 3009558 w 5741575"/>
              <a:gd name="connsiteY53" fmla="*/ 370573 h 955271"/>
              <a:gd name="connsiteX54" fmla="*/ 3095010 w 5741575"/>
              <a:gd name="connsiteY54" fmla="*/ 332454 h 955271"/>
              <a:gd name="connsiteX55" fmla="*/ 3103742 w 5741575"/>
              <a:gd name="connsiteY55" fmla="*/ 337974 h 955271"/>
              <a:gd name="connsiteX56" fmla="*/ 3165093 w 5741575"/>
              <a:gd name="connsiteY56" fmla="*/ 329459 h 955271"/>
              <a:gd name="connsiteX57" fmla="*/ 3373785 w 5741575"/>
              <a:gd name="connsiteY57" fmla="*/ 255680 h 955271"/>
              <a:gd name="connsiteX58" fmla="*/ 3493851 w 5741575"/>
              <a:gd name="connsiteY58" fmla="*/ 240255 h 955271"/>
              <a:gd name="connsiteX59" fmla="*/ 3537470 w 5741575"/>
              <a:gd name="connsiteY59" fmla="*/ 241867 h 955271"/>
              <a:gd name="connsiteX60" fmla="*/ 3610489 w 5741575"/>
              <a:gd name="connsiteY60" fmla="*/ 244128 h 955271"/>
              <a:gd name="connsiteX61" fmla="*/ 3667539 w 5741575"/>
              <a:gd name="connsiteY61" fmla="*/ 263271 h 955271"/>
              <a:gd name="connsiteX62" fmla="*/ 3727614 w 5741575"/>
              <a:gd name="connsiteY62" fmla="*/ 258245 h 955271"/>
              <a:gd name="connsiteX63" fmla="*/ 3738369 w 5741575"/>
              <a:gd name="connsiteY63" fmla="*/ 234506 h 955271"/>
              <a:gd name="connsiteX64" fmla="*/ 3803670 w 5741575"/>
              <a:gd name="connsiteY64" fmla="*/ 236457 h 955271"/>
              <a:gd name="connsiteX65" fmla="*/ 3903080 w 5741575"/>
              <a:gd name="connsiteY65" fmla="*/ 241890 h 955271"/>
              <a:gd name="connsiteX66" fmla="*/ 4114838 w 5741575"/>
              <a:gd name="connsiteY66" fmla="*/ 238165 h 955271"/>
              <a:gd name="connsiteX67" fmla="*/ 4271023 w 5741575"/>
              <a:gd name="connsiteY67" fmla="*/ 241959 h 955271"/>
              <a:gd name="connsiteX68" fmla="*/ 4367397 w 5741575"/>
              <a:gd name="connsiteY68" fmla="*/ 271442 h 955271"/>
              <a:gd name="connsiteX69" fmla="*/ 4495366 w 5741575"/>
              <a:gd name="connsiteY69" fmla="*/ 271618 h 955271"/>
              <a:gd name="connsiteX70" fmla="*/ 4517347 w 5741575"/>
              <a:gd name="connsiteY70" fmla="*/ 275639 h 955271"/>
              <a:gd name="connsiteX71" fmla="*/ 4546116 w 5741575"/>
              <a:gd name="connsiteY71" fmla="*/ 268568 h 955271"/>
              <a:gd name="connsiteX72" fmla="*/ 4661259 w 5741575"/>
              <a:gd name="connsiteY72" fmla="*/ 238966 h 955271"/>
              <a:gd name="connsiteX73" fmla="*/ 4750403 w 5741575"/>
              <a:gd name="connsiteY73" fmla="*/ 204364 h 955271"/>
              <a:gd name="connsiteX74" fmla="*/ 4867614 w 5741575"/>
              <a:gd name="connsiteY74" fmla="*/ 208668 h 955271"/>
              <a:gd name="connsiteX75" fmla="*/ 4937036 w 5741575"/>
              <a:gd name="connsiteY75" fmla="*/ 195446 h 955271"/>
              <a:gd name="connsiteX76" fmla="*/ 5047626 w 5741575"/>
              <a:gd name="connsiteY76" fmla="*/ 149604 h 955271"/>
              <a:gd name="connsiteX77" fmla="*/ 5200247 w 5741575"/>
              <a:gd name="connsiteY77" fmla="*/ 142695 h 955271"/>
              <a:gd name="connsiteX78" fmla="*/ 5235691 w 5741575"/>
              <a:gd name="connsiteY78" fmla="*/ 173330 h 955271"/>
              <a:gd name="connsiteX79" fmla="*/ 5280133 w 5741575"/>
              <a:gd name="connsiteY79" fmla="*/ 189342 h 955271"/>
              <a:gd name="connsiteX80" fmla="*/ 5291963 w 5741575"/>
              <a:gd name="connsiteY80" fmla="*/ 139446 h 955271"/>
              <a:gd name="connsiteX81" fmla="*/ 5418472 w 5741575"/>
              <a:gd name="connsiteY81" fmla="*/ 89163 h 955271"/>
              <a:gd name="connsiteX82" fmla="*/ 5482354 w 5741575"/>
              <a:gd name="connsiteY82" fmla="*/ 69470 h 955271"/>
              <a:gd name="connsiteX83" fmla="*/ 5583280 w 5741575"/>
              <a:gd name="connsiteY83" fmla="*/ 49787 h 955271"/>
              <a:gd name="connsiteX84" fmla="*/ 5613766 w 5741575"/>
              <a:gd name="connsiteY84" fmla="*/ 41855 h 955271"/>
              <a:gd name="connsiteX85" fmla="*/ 5684952 w 5741575"/>
              <a:gd name="connsiteY85" fmla="*/ 26088 h 955271"/>
              <a:gd name="connsiteX86" fmla="*/ 5741575 w 5741575"/>
              <a:gd name="connsiteY86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6314 w 5741575"/>
              <a:gd name="connsiteY22" fmla="*/ 722473 h 955271"/>
              <a:gd name="connsiteX23" fmla="*/ 1278773 w 5741575"/>
              <a:gd name="connsiteY23" fmla="*/ 711503 h 955271"/>
              <a:gd name="connsiteX24" fmla="*/ 1342834 w 5741575"/>
              <a:gd name="connsiteY24" fmla="*/ 753906 h 955271"/>
              <a:gd name="connsiteX25" fmla="*/ 1435833 w 5741575"/>
              <a:gd name="connsiteY25" fmla="*/ 857427 h 955271"/>
              <a:gd name="connsiteX26" fmla="*/ 1412292 w 5741575"/>
              <a:gd name="connsiteY26" fmla="*/ 670793 h 955271"/>
              <a:gd name="connsiteX27" fmla="*/ 1494753 w 5741575"/>
              <a:gd name="connsiteY27" fmla="*/ 644686 h 955271"/>
              <a:gd name="connsiteX28" fmla="*/ 1616217 w 5741575"/>
              <a:gd name="connsiteY28" fmla="*/ 622107 h 955271"/>
              <a:gd name="connsiteX29" fmla="*/ 1710928 w 5741575"/>
              <a:gd name="connsiteY29" fmla="*/ 600666 h 955271"/>
              <a:gd name="connsiteX30" fmla="*/ 1743718 w 5741575"/>
              <a:gd name="connsiteY30" fmla="*/ 584327 h 955271"/>
              <a:gd name="connsiteX31" fmla="*/ 1873778 w 5741575"/>
              <a:gd name="connsiteY31" fmla="*/ 530130 h 955271"/>
              <a:gd name="connsiteX32" fmla="*/ 1988411 w 5741575"/>
              <a:gd name="connsiteY32" fmla="*/ 491599 h 955271"/>
              <a:gd name="connsiteX33" fmla="*/ 2085507 w 5741575"/>
              <a:gd name="connsiteY33" fmla="*/ 498527 h 955271"/>
              <a:gd name="connsiteX34" fmla="*/ 2090767 w 5741575"/>
              <a:gd name="connsiteY34" fmla="*/ 490616 h 955271"/>
              <a:gd name="connsiteX35" fmla="*/ 2151143 w 5741575"/>
              <a:gd name="connsiteY35" fmla="*/ 478332 h 955271"/>
              <a:gd name="connsiteX36" fmla="*/ 2378710 w 5741575"/>
              <a:gd name="connsiteY36" fmla="*/ 477570 h 955271"/>
              <a:gd name="connsiteX37" fmla="*/ 2496256 w 5741575"/>
              <a:gd name="connsiteY37" fmla="*/ 452396 h 955271"/>
              <a:gd name="connsiteX38" fmla="*/ 2535387 w 5741575"/>
              <a:gd name="connsiteY38" fmla="*/ 436645 h 955271"/>
              <a:gd name="connsiteX39" fmla="*/ 2601109 w 5741575"/>
              <a:gd name="connsiteY39" fmla="*/ 410678 h 955271"/>
              <a:gd name="connsiteX40" fmla="*/ 2643855 w 5741575"/>
              <a:gd name="connsiteY40" fmla="*/ 374482 h 955271"/>
              <a:gd name="connsiteX41" fmla="*/ 2657726 w 5741575"/>
              <a:gd name="connsiteY41" fmla="*/ 365841 h 955271"/>
              <a:gd name="connsiteX42" fmla="*/ 2687125 w 5741575"/>
              <a:gd name="connsiteY42" fmla="*/ 366820 h 955271"/>
              <a:gd name="connsiteX43" fmla="*/ 2697479 w 5741575"/>
              <a:gd name="connsiteY43" fmla="*/ 361430 h 955271"/>
              <a:gd name="connsiteX44" fmla="*/ 2701547 w 5741575"/>
              <a:gd name="connsiteY44" fmla="*/ 361545 h 955271"/>
              <a:gd name="connsiteX45" fmla="*/ 2711054 w 5741575"/>
              <a:gd name="connsiteY45" fmla="*/ 360597 h 955271"/>
              <a:gd name="connsiteX46" fmla="*/ 2710438 w 5741575"/>
              <a:gd name="connsiteY46" fmla="*/ 366958 h 955271"/>
              <a:gd name="connsiteX47" fmla="*/ 2722936 w 5741575"/>
              <a:gd name="connsiteY47" fmla="*/ 377633 h 955271"/>
              <a:gd name="connsiteX48" fmla="*/ 2777227 w 5741575"/>
              <a:gd name="connsiteY48" fmla="*/ 368972 h 955271"/>
              <a:gd name="connsiteX49" fmla="*/ 2779510 w 5741575"/>
              <a:gd name="connsiteY49" fmla="*/ 361652 h 955271"/>
              <a:gd name="connsiteX50" fmla="*/ 2786278 w 5741575"/>
              <a:gd name="connsiteY50" fmla="*/ 359869 h 955271"/>
              <a:gd name="connsiteX51" fmla="*/ 2792101 w 5741575"/>
              <a:gd name="connsiteY51" fmla="*/ 365927 h 955271"/>
              <a:gd name="connsiteX52" fmla="*/ 2885545 w 5741575"/>
              <a:gd name="connsiteY52" fmla="*/ 372818 h 955271"/>
              <a:gd name="connsiteX53" fmla="*/ 3009558 w 5741575"/>
              <a:gd name="connsiteY53" fmla="*/ 370573 h 955271"/>
              <a:gd name="connsiteX54" fmla="*/ 3095010 w 5741575"/>
              <a:gd name="connsiteY54" fmla="*/ 332454 h 955271"/>
              <a:gd name="connsiteX55" fmla="*/ 3103742 w 5741575"/>
              <a:gd name="connsiteY55" fmla="*/ 337974 h 955271"/>
              <a:gd name="connsiteX56" fmla="*/ 3165093 w 5741575"/>
              <a:gd name="connsiteY56" fmla="*/ 329459 h 955271"/>
              <a:gd name="connsiteX57" fmla="*/ 3373785 w 5741575"/>
              <a:gd name="connsiteY57" fmla="*/ 255680 h 955271"/>
              <a:gd name="connsiteX58" fmla="*/ 3493851 w 5741575"/>
              <a:gd name="connsiteY58" fmla="*/ 240255 h 955271"/>
              <a:gd name="connsiteX59" fmla="*/ 3537470 w 5741575"/>
              <a:gd name="connsiteY59" fmla="*/ 241867 h 955271"/>
              <a:gd name="connsiteX60" fmla="*/ 3610489 w 5741575"/>
              <a:gd name="connsiteY60" fmla="*/ 244128 h 955271"/>
              <a:gd name="connsiteX61" fmla="*/ 3667539 w 5741575"/>
              <a:gd name="connsiteY61" fmla="*/ 263271 h 955271"/>
              <a:gd name="connsiteX62" fmla="*/ 3727614 w 5741575"/>
              <a:gd name="connsiteY62" fmla="*/ 258245 h 955271"/>
              <a:gd name="connsiteX63" fmla="*/ 3738369 w 5741575"/>
              <a:gd name="connsiteY63" fmla="*/ 234506 h 955271"/>
              <a:gd name="connsiteX64" fmla="*/ 3803670 w 5741575"/>
              <a:gd name="connsiteY64" fmla="*/ 236457 h 955271"/>
              <a:gd name="connsiteX65" fmla="*/ 3903080 w 5741575"/>
              <a:gd name="connsiteY65" fmla="*/ 241890 h 955271"/>
              <a:gd name="connsiteX66" fmla="*/ 4114838 w 5741575"/>
              <a:gd name="connsiteY66" fmla="*/ 238165 h 955271"/>
              <a:gd name="connsiteX67" fmla="*/ 4271023 w 5741575"/>
              <a:gd name="connsiteY67" fmla="*/ 241959 h 955271"/>
              <a:gd name="connsiteX68" fmla="*/ 4367397 w 5741575"/>
              <a:gd name="connsiteY68" fmla="*/ 271442 h 955271"/>
              <a:gd name="connsiteX69" fmla="*/ 4495366 w 5741575"/>
              <a:gd name="connsiteY69" fmla="*/ 271618 h 955271"/>
              <a:gd name="connsiteX70" fmla="*/ 4517347 w 5741575"/>
              <a:gd name="connsiteY70" fmla="*/ 275639 h 955271"/>
              <a:gd name="connsiteX71" fmla="*/ 4546116 w 5741575"/>
              <a:gd name="connsiteY71" fmla="*/ 268568 h 955271"/>
              <a:gd name="connsiteX72" fmla="*/ 4661259 w 5741575"/>
              <a:gd name="connsiteY72" fmla="*/ 238966 h 955271"/>
              <a:gd name="connsiteX73" fmla="*/ 4750403 w 5741575"/>
              <a:gd name="connsiteY73" fmla="*/ 204364 h 955271"/>
              <a:gd name="connsiteX74" fmla="*/ 4867614 w 5741575"/>
              <a:gd name="connsiteY74" fmla="*/ 208668 h 955271"/>
              <a:gd name="connsiteX75" fmla="*/ 4937036 w 5741575"/>
              <a:gd name="connsiteY75" fmla="*/ 195446 h 955271"/>
              <a:gd name="connsiteX76" fmla="*/ 5047626 w 5741575"/>
              <a:gd name="connsiteY76" fmla="*/ 149604 h 955271"/>
              <a:gd name="connsiteX77" fmla="*/ 5200247 w 5741575"/>
              <a:gd name="connsiteY77" fmla="*/ 142695 h 955271"/>
              <a:gd name="connsiteX78" fmla="*/ 5235691 w 5741575"/>
              <a:gd name="connsiteY78" fmla="*/ 173330 h 955271"/>
              <a:gd name="connsiteX79" fmla="*/ 5280133 w 5741575"/>
              <a:gd name="connsiteY79" fmla="*/ 189342 h 955271"/>
              <a:gd name="connsiteX80" fmla="*/ 5291963 w 5741575"/>
              <a:gd name="connsiteY80" fmla="*/ 139446 h 955271"/>
              <a:gd name="connsiteX81" fmla="*/ 5418472 w 5741575"/>
              <a:gd name="connsiteY81" fmla="*/ 89163 h 955271"/>
              <a:gd name="connsiteX82" fmla="*/ 5482354 w 5741575"/>
              <a:gd name="connsiteY82" fmla="*/ 69470 h 955271"/>
              <a:gd name="connsiteX83" fmla="*/ 5583280 w 5741575"/>
              <a:gd name="connsiteY83" fmla="*/ 49787 h 955271"/>
              <a:gd name="connsiteX84" fmla="*/ 5613766 w 5741575"/>
              <a:gd name="connsiteY84" fmla="*/ 41855 h 955271"/>
              <a:gd name="connsiteX85" fmla="*/ 5684952 w 5741575"/>
              <a:gd name="connsiteY85" fmla="*/ 26088 h 955271"/>
              <a:gd name="connsiteX86" fmla="*/ 5741575 w 5741575"/>
              <a:gd name="connsiteY86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6314 w 5741575"/>
              <a:gd name="connsiteY22" fmla="*/ 722473 h 955271"/>
              <a:gd name="connsiteX23" fmla="*/ 1278773 w 5741575"/>
              <a:gd name="connsiteY23" fmla="*/ 711503 h 955271"/>
              <a:gd name="connsiteX24" fmla="*/ 1317691 w 5741575"/>
              <a:gd name="connsiteY24" fmla="*/ 708529 h 955271"/>
              <a:gd name="connsiteX25" fmla="*/ 1435833 w 5741575"/>
              <a:gd name="connsiteY25" fmla="*/ 857427 h 955271"/>
              <a:gd name="connsiteX26" fmla="*/ 1412292 w 5741575"/>
              <a:gd name="connsiteY26" fmla="*/ 670793 h 955271"/>
              <a:gd name="connsiteX27" fmla="*/ 1494753 w 5741575"/>
              <a:gd name="connsiteY27" fmla="*/ 644686 h 955271"/>
              <a:gd name="connsiteX28" fmla="*/ 1616217 w 5741575"/>
              <a:gd name="connsiteY28" fmla="*/ 622107 h 955271"/>
              <a:gd name="connsiteX29" fmla="*/ 1710928 w 5741575"/>
              <a:gd name="connsiteY29" fmla="*/ 600666 h 955271"/>
              <a:gd name="connsiteX30" fmla="*/ 1743718 w 5741575"/>
              <a:gd name="connsiteY30" fmla="*/ 584327 h 955271"/>
              <a:gd name="connsiteX31" fmla="*/ 1873778 w 5741575"/>
              <a:gd name="connsiteY31" fmla="*/ 530130 h 955271"/>
              <a:gd name="connsiteX32" fmla="*/ 1988411 w 5741575"/>
              <a:gd name="connsiteY32" fmla="*/ 491599 h 955271"/>
              <a:gd name="connsiteX33" fmla="*/ 2085507 w 5741575"/>
              <a:gd name="connsiteY33" fmla="*/ 498527 h 955271"/>
              <a:gd name="connsiteX34" fmla="*/ 2090767 w 5741575"/>
              <a:gd name="connsiteY34" fmla="*/ 490616 h 955271"/>
              <a:gd name="connsiteX35" fmla="*/ 2151143 w 5741575"/>
              <a:gd name="connsiteY35" fmla="*/ 478332 h 955271"/>
              <a:gd name="connsiteX36" fmla="*/ 2378710 w 5741575"/>
              <a:gd name="connsiteY36" fmla="*/ 477570 h 955271"/>
              <a:gd name="connsiteX37" fmla="*/ 2496256 w 5741575"/>
              <a:gd name="connsiteY37" fmla="*/ 452396 h 955271"/>
              <a:gd name="connsiteX38" fmla="*/ 2535387 w 5741575"/>
              <a:gd name="connsiteY38" fmla="*/ 436645 h 955271"/>
              <a:gd name="connsiteX39" fmla="*/ 2601109 w 5741575"/>
              <a:gd name="connsiteY39" fmla="*/ 410678 h 955271"/>
              <a:gd name="connsiteX40" fmla="*/ 2643855 w 5741575"/>
              <a:gd name="connsiteY40" fmla="*/ 374482 h 955271"/>
              <a:gd name="connsiteX41" fmla="*/ 2657726 w 5741575"/>
              <a:gd name="connsiteY41" fmla="*/ 365841 h 955271"/>
              <a:gd name="connsiteX42" fmla="*/ 2687125 w 5741575"/>
              <a:gd name="connsiteY42" fmla="*/ 366820 h 955271"/>
              <a:gd name="connsiteX43" fmla="*/ 2697479 w 5741575"/>
              <a:gd name="connsiteY43" fmla="*/ 361430 h 955271"/>
              <a:gd name="connsiteX44" fmla="*/ 2701547 w 5741575"/>
              <a:gd name="connsiteY44" fmla="*/ 361545 h 955271"/>
              <a:gd name="connsiteX45" fmla="*/ 2711054 w 5741575"/>
              <a:gd name="connsiteY45" fmla="*/ 360597 h 955271"/>
              <a:gd name="connsiteX46" fmla="*/ 2710438 w 5741575"/>
              <a:gd name="connsiteY46" fmla="*/ 366958 h 955271"/>
              <a:gd name="connsiteX47" fmla="*/ 2722936 w 5741575"/>
              <a:gd name="connsiteY47" fmla="*/ 377633 h 955271"/>
              <a:gd name="connsiteX48" fmla="*/ 2777227 w 5741575"/>
              <a:gd name="connsiteY48" fmla="*/ 368972 h 955271"/>
              <a:gd name="connsiteX49" fmla="*/ 2779510 w 5741575"/>
              <a:gd name="connsiteY49" fmla="*/ 361652 h 955271"/>
              <a:gd name="connsiteX50" fmla="*/ 2786278 w 5741575"/>
              <a:gd name="connsiteY50" fmla="*/ 359869 h 955271"/>
              <a:gd name="connsiteX51" fmla="*/ 2792101 w 5741575"/>
              <a:gd name="connsiteY51" fmla="*/ 365927 h 955271"/>
              <a:gd name="connsiteX52" fmla="*/ 2885545 w 5741575"/>
              <a:gd name="connsiteY52" fmla="*/ 372818 h 955271"/>
              <a:gd name="connsiteX53" fmla="*/ 3009558 w 5741575"/>
              <a:gd name="connsiteY53" fmla="*/ 370573 h 955271"/>
              <a:gd name="connsiteX54" fmla="*/ 3095010 w 5741575"/>
              <a:gd name="connsiteY54" fmla="*/ 332454 h 955271"/>
              <a:gd name="connsiteX55" fmla="*/ 3103742 w 5741575"/>
              <a:gd name="connsiteY55" fmla="*/ 337974 h 955271"/>
              <a:gd name="connsiteX56" fmla="*/ 3165093 w 5741575"/>
              <a:gd name="connsiteY56" fmla="*/ 329459 h 955271"/>
              <a:gd name="connsiteX57" fmla="*/ 3373785 w 5741575"/>
              <a:gd name="connsiteY57" fmla="*/ 255680 h 955271"/>
              <a:gd name="connsiteX58" fmla="*/ 3493851 w 5741575"/>
              <a:gd name="connsiteY58" fmla="*/ 240255 h 955271"/>
              <a:gd name="connsiteX59" fmla="*/ 3537470 w 5741575"/>
              <a:gd name="connsiteY59" fmla="*/ 241867 h 955271"/>
              <a:gd name="connsiteX60" fmla="*/ 3610489 w 5741575"/>
              <a:gd name="connsiteY60" fmla="*/ 244128 h 955271"/>
              <a:gd name="connsiteX61" fmla="*/ 3667539 w 5741575"/>
              <a:gd name="connsiteY61" fmla="*/ 263271 h 955271"/>
              <a:gd name="connsiteX62" fmla="*/ 3727614 w 5741575"/>
              <a:gd name="connsiteY62" fmla="*/ 258245 h 955271"/>
              <a:gd name="connsiteX63" fmla="*/ 3738369 w 5741575"/>
              <a:gd name="connsiteY63" fmla="*/ 234506 h 955271"/>
              <a:gd name="connsiteX64" fmla="*/ 3803670 w 5741575"/>
              <a:gd name="connsiteY64" fmla="*/ 236457 h 955271"/>
              <a:gd name="connsiteX65" fmla="*/ 3903080 w 5741575"/>
              <a:gd name="connsiteY65" fmla="*/ 241890 h 955271"/>
              <a:gd name="connsiteX66" fmla="*/ 4114838 w 5741575"/>
              <a:gd name="connsiteY66" fmla="*/ 238165 h 955271"/>
              <a:gd name="connsiteX67" fmla="*/ 4271023 w 5741575"/>
              <a:gd name="connsiteY67" fmla="*/ 241959 h 955271"/>
              <a:gd name="connsiteX68" fmla="*/ 4367397 w 5741575"/>
              <a:gd name="connsiteY68" fmla="*/ 271442 h 955271"/>
              <a:gd name="connsiteX69" fmla="*/ 4495366 w 5741575"/>
              <a:gd name="connsiteY69" fmla="*/ 271618 h 955271"/>
              <a:gd name="connsiteX70" fmla="*/ 4517347 w 5741575"/>
              <a:gd name="connsiteY70" fmla="*/ 275639 h 955271"/>
              <a:gd name="connsiteX71" fmla="*/ 4546116 w 5741575"/>
              <a:gd name="connsiteY71" fmla="*/ 268568 h 955271"/>
              <a:gd name="connsiteX72" fmla="*/ 4661259 w 5741575"/>
              <a:gd name="connsiteY72" fmla="*/ 238966 h 955271"/>
              <a:gd name="connsiteX73" fmla="*/ 4750403 w 5741575"/>
              <a:gd name="connsiteY73" fmla="*/ 204364 h 955271"/>
              <a:gd name="connsiteX74" fmla="*/ 4867614 w 5741575"/>
              <a:gd name="connsiteY74" fmla="*/ 208668 h 955271"/>
              <a:gd name="connsiteX75" fmla="*/ 4937036 w 5741575"/>
              <a:gd name="connsiteY75" fmla="*/ 195446 h 955271"/>
              <a:gd name="connsiteX76" fmla="*/ 5047626 w 5741575"/>
              <a:gd name="connsiteY76" fmla="*/ 149604 h 955271"/>
              <a:gd name="connsiteX77" fmla="*/ 5200247 w 5741575"/>
              <a:gd name="connsiteY77" fmla="*/ 142695 h 955271"/>
              <a:gd name="connsiteX78" fmla="*/ 5235691 w 5741575"/>
              <a:gd name="connsiteY78" fmla="*/ 173330 h 955271"/>
              <a:gd name="connsiteX79" fmla="*/ 5280133 w 5741575"/>
              <a:gd name="connsiteY79" fmla="*/ 189342 h 955271"/>
              <a:gd name="connsiteX80" fmla="*/ 5291963 w 5741575"/>
              <a:gd name="connsiteY80" fmla="*/ 139446 h 955271"/>
              <a:gd name="connsiteX81" fmla="*/ 5418472 w 5741575"/>
              <a:gd name="connsiteY81" fmla="*/ 89163 h 955271"/>
              <a:gd name="connsiteX82" fmla="*/ 5482354 w 5741575"/>
              <a:gd name="connsiteY82" fmla="*/ 69470 h 955271"/>
              <a:gd name="connsiteX83" fmla="*/ 5583280 w 5741575"/>
              <a:gd name="connsiteY83" fmla="*/ 49787 h 955271"/>
              <a:gd name="connsiteX84" fmla="*/ 5613766 w 5741575"/>
              <a:gd name="connsiteY84" fmla="*/ 41855 h 955271"/>
              <a:gd name="connsiteX85" fmla="*/ 5684952 w 5741575"/>
              <a:gd name="connsiteY85" fmla="*/ 26088 h 955271"/>
              <a:gd name="connsiteX86" fmla="*/ 5741575 w 5741575"/>
              <a:gd name="connsiteY86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6314 w 5741575"/>
              <a:gd name="connsiteY22" fmla="*/ 722473 h 955271"/>
              <a:gd name="connsiteX23" fmla="*/ 1278773 w 5741575"/>
              <a:gd name="connsiteY23" fmla="*/ 711503 h 955271"/>
              <a:gd name="connsiteX24" fmla="*/ 1317691 w 5741575"/>
              <a:gd name="connsiteY24" fmla="*/ 708529 h 955271"/>
              <a:gd name="connsiteX25" fmla="*/ 1360404 w 5741575"/>
              <a:gd name="connsiteY25" fmla="*/ 675922 h 955271"/>
              <a:gd name="connsiteX26" fmla="*/ 1412292 w 5741575"/>
              <a:gd name="connsiteY26" fmla="*/ 670793 h 955271"/>
              <a:gd name="connsiteX27" fmla="*/ 1494753 w 5741575"/>
              <a:gd name="connsiteY27" fmla="*/ 644686 h 955271"/>
              <a:gd name="connsiteX28" fmla="*/ 1616217 w 5741575"/>
              <a:gd name="connsiteY28" fmla="*/ 622107 h 955271"/>
              <a:gd name="connsiteX29" fmla="*/ 1710928 w 5741575"/>
              <a:gd name="connsiteY29" fmla="*/ 600666 h 955271"/>
              <a:gd name="connsiteX30" fmla="*/ 1743718 w 5741575"/>
              <a:gd name="connsiteY30" fmla="*/ 584327 h 955271"/>
              <a:gd name="connsiteX31" fmla="*/ 1873778 w 5741575"/>
              <a:gd name="connsiteY31" fmla="*/ 530130 h 955271"/>
              <a:gd name="connsiteX32" fmla="*/ 1988411 w 5741575"/>
              <a:gd name="connsiteY32" fmla="*/ 491599 h 955271"/>
              <a:gd name="connsiteX33" fmla="*/ 2085507 w 5741575"/>
              <a:gd name="connsiteY33" fmla="*/ 498527 h 955271"/>
              <a:gd name="connsiteX34" fmla="*/ 2090767 w 5741575"/>
              <a:gd name="connsiteY34" fmla="*/ 490616 h 955271"/>
              <a:gd name="connsiteX35" fmla="*/ 2151143 w 5741575"/>
              <a:gd name="connsiteY35" fmla="*/ 478332 h 955271"/>
              <a:gd name="connsiteX36" fmla="*/ 2378710 w 5741575"/>
              <a:gd name="connsiteY36" fmla="*/ 477570 h 955271"/>
              <a:gd name="connsiteX37" fmla="*/ 2496256 w 5741575"/>
              <a:gd name="connsiteY37" fmla="*/ 452396 h 955271"/>
              <a:gd name="connsiteX38" fmla="*/ 2535387 w 5741575"/>
              <a:gd name="connsiteY38" fmla="*/ 436645 h 955271"/>
              <a:gd name="connsiteX39" fmla="*/ 2601109 w 5741575"/>
              <a:gd name="connsiteY39" fmla="*/ 410678 h 955271"/>
              <a:gd name="connsiteX40" fmla="*/ 2643855 w 5741575"/>
              <a:gd name="connsiteY40" fmla="*/ 374482 h 955271"/>
              <a:gd name="connsiteX41" fmla="*/ 2657726 w 5741575"/>
              <a:gd name="connsiteY41" fmla="*/ 365841 h 955271"/>
              <a:gd name="connsiteX42" fmla="*/ 2687125 w 5741575"/>
              <a:gd name="connsiteY42" fmla="*/ 366820 h 955271"/>
              <a:gd name="connsiteX43" fmla="*/ 2697479 w 5741575"/>
              <a:gd name="connsiteY43" fmla="*/ 361430 h 955271"/>
              <a:gd name="connsiteX44" fmla="*/ 2701547 w 5741575"/>
              <a:gd name="connsiteY44" fmla="*/ 361545 h 955271"/>
              <a:gd name="connsiteX45" fmla="*/ 2711054 w 5741575"/>
              <a:gd name="connsiteY45" fmla="*/ 360597 h 955271"/>
              <a:gd name="connsiteX46" fmla="*/ 2710438 w 5741575"/>
              <a:gd name="connsiteY46" fmla="*/ 366958 h 955271"/>
              <a:gd name="connsiteX47" fmla="*/ 2722936 w 5741575"/>
              <a:gd name="connsiteY47" fmla="*/ 377633 h 955271"/>
              <a:gd name="connsiteX48" fmla="*/ 2777227 w 5741575"/>
              <a:gd name="connsiteY48" fmla="*/ 368972 h 955271"/>
              <a:gd name="connsiteX49" fmla="*/ 2779510 w 5741575"/>
              <a:gd name="connsiteY49" fmla="*/ 361652 h 955271"/>
              <a:gd name="connsiteX50" fmla="*/ 2786278 w 5741575"/>
              <a:gd name="connsiteY50" fmla="*/ 359869 h 955271"/>
              <a:gd name="connsiteX51" fmla="*/ 2792101 w 5741575"/>
              <a:gd name="connsiteY51" fmla="*/ 365927 h 955271"/>
              <a:gd name="connsiteX52" fmla="*/ 2885545 w 5741575"/>
              <a:gd name="connsiteY52" fmla="*/ 372818 h 955271"/>
              <a:gd name="connsiteX53" fmla="*/ 3009558 w 5741575"/>
              <a:gd name="connsiteY53" fmla="*/ 370573 h 955271"/>
              <a:gd name="connsiteX54" fmla="*/ 3095010 w 5741575"/>
              <a:gd name="connsiteY54" fmla="*/ 332454 h 955271"/>
              <a:gd name="connsiteX55" fmla="*/ 3103742 w 5741575"/>
              <a:gd name="connsiteY55" fmla="*/ 337974 h 955271"/>
              <a:gd name="connsiteX56" fmla="*/ 3165093 w 5741575"/>
              <a:gd name="connsiteY56" fmla="*/ 329459 h 955271"/>
              <a:gd name="connsiteX57" fmla="*/ 3373785 w 5741575"/>
              <a:gd name="connsiteY57" fmla="*/ 255680 h 955271"/>
              <a:gd name="connsiteX58" fmla="*/ 3493851 w 5741575"/>
              <a:gd name="connsiteY58" fmla="*/ 240255 h 955271"/>
              <a:gd name="connsiteX59" fmla="*/ 3537470 w 5741575"/>
              <a:gd name="connsiteY59" fmla="*/ 241867 h 955271"/>
              <a:gd name="connsiteX60" fmla="*/ 3610489 w 5741575"/>
              <a:gd name="connsiteY60" fmla="*/ 244128 h 955271"/>
              <a:gd name="connsiteX61" fmla="*/ 3667539 w 5741575"/>
              <a:gd name="connsiteY61" fmla="*/ 263271 h 955271"/>
              <a:gd name="connsiteX62" fmla="*/ 3727614 w 5741575"/>
              <a:gd name="connsiteY62" fmla="*/ 258245 h 955271"/>
              <a:gd name="connsiteX63" fmla="*/ 3738369 w 5741575"/>
              <a:gd name="connsiteY63" fmla="*/ 234506 h 955271"/>
              <a:gd name="connsiteX64" fmla="*/ 3803670 w 5741575"/>
              <a:gd name="connsiteY64" fmla="*/ 236457 h 955271"/>
              <a:gd name="connsiteX65" fmla="*/ 3903080 w 5741575"/>
              <a:gd name="connsiteY65" fmla="*/ 241890 h 955271"/>
              <a:gd name="connsiteX66" fmla="*/ 4114838 w 5741575"/>
              <a:gd name="connsiteY66" fmla="*/ 238165 h 955271"/>
              <a:gd name="connsiteX67" fmla="*/ 4271023 w 5741575"/>
              <a:gd name="connsiteY67" fmla="*/ 241959 h 955271"/>
              <a:gd name="connsiteX68" fmla="*/ 4367397 w 5741575"/>
              <a:gd name="connsiteY68" fmla="*/ 271442 h 955271"/>
              <a:gd name="connsiteX69" fmla="*/ 4495366 w 5741575"/>
              <a:gd name="connsiteY69" fmla="*/ 271618 h 955271"/>
              <a:gd name="connsiteX70" fmla="*/ 4517347 w 5741575"/>
              <a:gd name="connsiteY70" fmla="*/ 275639 h 955271"/>
              <a:gd name="connsiteX71" fmla="*/ 4546116 w 5741575"/>
              <a:gd name="connsiteY71" fmla="*/ 268568 h 955271"/>
              <a:gd name="connsiteX72" fmla="*/ 4661259 w 5741575"/>
              <a:gd name="connsiteY72" fmla="*/ 238966 h 955271"/>
              <a:gd name="connsiteX73" fmla="*/ 4750403 w 5741575"/>
              <a:gd name="connsiteY73" fmla="*/ 204364 h 955271"/>
              <a:gd name="connsiteX74" fmla="*/ 4867614 w 5741575"/>
              <a:gd name="connsiteY74" fmla="*/ 208668 h 955271"/>
              <a:gd name="connsiteX75" fmla="*/ 4937036 w 5741575"/>
              <a:gd name="connsiteY75" fmla="*/ 195446 h 955271"/>
              <a:gd name="connsiteX76" fmla="*/ 5047626 w 5741575"/>
              <a:gd name="connsiteY76" fmla="*/ 149604 h 955271"/>
              <a:gd name="connsiteX77" fmla="*/ 5200247 w 5741575"/>
              <a:gd name="connsiteY77" fmla="*/ 142695 h 955271"/>
              <a:gd name="connsiteX78" fmla="*/ 5235691 w 5741575"/>
              <a:gd name="connsiteY78" fmla="*/ 173330 h 955271"/>
              <a:gd name="connsiteX79" fmla="*/ 5280133 w 5741575"/>
              <a:gd name="connsiteY79" fmla="*/ 189342 h 955271"/>
              <a:gd name="connsiteX80" fmla="*/ 5291963 w 5741575"/>
              <a:gd name="connsiteY80" fmla="*/ 139446 h 955271"/>
              <a:gd name="connsiteX81" fmla="*/ 5418472 w 5741575"/>
              <a:gd name="connsiteY81" fmla="*/ 89163 h 955271"/>
              <a:gd name="connsiteX82" fmla="*/ 5482354 w 5741575"/>
              <a:gd name="connsiteY82" fmla="*/ 69470 h 955271"/>
              <a:gd name="connsiteX83" fmla="*/ 5583280 w 5741575"/>
              <a:gd name="connsiteY83" fmla="*/ 49787 h 955271"/>
              <a:gd name="connsiteX84" fmla="*/ 5613766 w 5741575"/>
              <a:gd name="connsiteY84" fmla="*/ 41855 h 955271"/>
              <a:gd name="connsiteX85" fmla="*/ 5684952 w 5741575"/>
              <a:gd name="connsiteY85" fmla="*/ 26088 h 955271"/>
              <a:gd name="connsiteX86" fmla="*/ 5741575 w 5741575"/>
              <a:gd name="connsiteY86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6314 w 5741575"/>
              <a:gd name="connsiteY22" fmla="*/ 722473 h 955271"/>
              <a:gd name="connsiteX23" fmla="*/ 1278773 w 5741575"/>
              <a:gd name="connsiteY23" fmla="*/ 711503 h 955271"/>
              <a:gd name="connsiteX24" fmla="*/ 1317691 w 5741575"/>
              <a:gd name="connsiteY24" fmla="*/ 708529 h 955271"/>
              <a:gd name="connsiteX25" fmla="*/ 1360404 w 5741575"/>
              <a:gd name="connsiteY25" fmla="*/ 675922 h 955271"/>
              <a:gd name="connsiteX26" fmla="*/ 1412292 w 5741575"/>
              <a:gd name="connsiteY26" fmla="*/ 670793 h 955271"/>
              <a:gd name="connsiteX27" fmla="*/ 1494753 w 5741575"/>
              <a:gd name="connsiteY27" fmla="*/ 644686 h 955271"/>
              <a:gd name="connsiteX28" fmla="*/ 1616217 w 5741575"/>
              <a:gd name="connsiteY28" fmla="*/ 622107 h 955271"/>
              <a:gd name="connsiteX29" fmla="*/ 1710928 w 5741575"/>
              <a:gd name="connsiteY29" fmla="*/ 600666 h 955271"/>
              <a:gd name="connsiteX30" fmla="*/ 1743718 w 5741575"/>
              <a:gd name="connsiteY30" fmla="*/ 584327 h 955271"/>
              <a:gd name="connsiteX31" fmla="*/ 1873778 w 5741575"/>
              <a:gd name="connsiteY31" fmla="*/ 530130 h 955271"/>
              <a:gd name="connsiteX32" fmla="*/ 1988411 w 5741575"/>
              <a:gd name="connsiteY32" fmla="*/ 491599 h 955271"/>
              <a:gd name="connsiteX33" fmla="*/ 2085507 w 5741575"/>
              <a:gd name="connsiteY33" fmla="*/ 498527 h 955271"/>
              <a:gd name="connsiteX34" fmla="*/ 2090767 w 5741575"/>
              <a:gd name="connsiteY34" fmla="*/ 490616 h 955271"/>
              <a:gd name="connsiteX35" fmla="*/ 2151143 w 5741575"/>
              <a:gd name="connsiteY35" fmla="*/ 478332 h 955271"/>
              <a:gd name="connsiteX36" fmla="*/ 2378710 w 5741575"/>
              <a:gd name="connsiteY36" fmla="*/ 477570 h 955271"/>
              <a:gd name="connsiteX37" fmla="*/ 2496256 w 5741575"/>
              <a:gd name="connsiteY37" fmla="*/ 452396 h 955271"/>
              <a:gd name="connsiteX38" fmla="*/ 2535387 w 5741575"/>
              <a:gd name="connsiteY38" fmla="*/ 436645 h 955271"/>
              <a:gd name="connsiteX39" fmla="*/ 2601109 w 5741575"/>
              <a:gd name="connsiteY39" fmla="*/ 410678 h 955271"/>
              <a:gd name="connsiteX40" fmla="*/ 2643855 w 5741575"/>
              <a:gd name="connsiteY40" fmla="*/ 374482 h 955271"/>
              <a:gd name="connsiteX41" fmla="*/ 2657726 w 5741575"/>
              <a:gd name="connsiteY41" fmla="*/ 365841 h 955271"/>
              <a:gd name="connsiteX42" fmla="*/ 2687125 w 5741575"/>
              <a:gd name="connsiteY42" fmla="*/ 366820 h 955271"/>
              <a:gd name="connsiteX43" fmla="*/ 2697479 w 5741575"/>
              <a:gd name="connsiteY43" fmla="*/ 361430 h 955271"/>
              <a:gd name="connsiteX44" fmla="*/ 2701547 w 5741575"/>
              <a:gd name="connsiteY44" fmla="*/ 361545 h 955271"/>
              <a:gd name="connsiteX45" fmla="*/ 2711054 w 5741575"/>
              <a:gd name="connsiteY45" fmla="*/ 360597 h 955271"/>
              <a:gd name="connsiteX46" fmla="*/ 2710438 w 5741575"/>
              <a:gd name="connsiteY46" fmla="*/ 366958 h 955271"/>
              <a:gd name="connsiteX47" fmla="*/ 2777227 w 5741575"/>
              <a:gd name="connsiteY47" fmla="*/ 368972 h 955271"/>
              <a:gd name="connsiteX48" fmla="*/ 2779510 w 5741575"/>
              <a:gd name="connsiteY48" fmla="*/ 361652 h 955271"/>
              <a:gd name="connsiteX49" fmla="*/ 2786278 w 5741575"/>
              <a:gd name="connsiteY49" fmla="*/ 359869 h 955271"/>
              <a:gd name="connsiteX50" fmla="*/ 2792101 w 5741575"/>
              <a:gd name="connsiteY50" fmla="*/ 365927 h 955271"/>
              <a:gd name="connsiteX51" fmla="*/ 2885545 w 5741575"/>
              <a:gd name="connsiteY51" fmla="*/ 372818 h 955271"/>
              <a:gd name="connsiteX52" fmla="*/ 3009558 w 5741575"/>
              <a:gd name="connsiteY52" fmla="*/ 370573 h 955271"/>
              <a:gd name="connsiteX53" fmla="*/ 3095010 w 5741575"/>
              <a:gd name="connsiteY53" fmla="*/ 332454 h 955271"/>
              <a:gd name="connsiteX54" fmla="*/ 3103742 w 5741575"/>
              <a:gd name="connsiteY54" fmla="*/ 337974 h 955271"/>
              <a:gd name="connsiteX55" fmla="*/ 3165093 w 5741575"/>
              <a:gd name="connsiteY55" fmla="*/ 329459 h 955271"/>
              <a:gd name="connsiteX56" fmla="*/ 3373785 w 5741575"/>
              <a:gd name="connsiteY56" fmla="*/ 255680 h 955271"/>
              <a:gd name="connsiteX57" fmla="*/ 3493851 w 5741575"/>
              <a:gd name="connsiteY57" fmla="*/ 240255 h 955271"/>
              <a:gd name="connsiteX58" fmla="*/ 3537470 w 5741575"/>
              <a:gd name="connsiteY58" fmla="*/ 241867 h 955271"/>
              <a:gd name="connsiteX59" fmla="*/ 3610489 w 5741575"/>
              <a:gd name="connsiteY59" fmla="*/ 244128 h 955271"/>
              <a:gd name="connsiteX60" fmla="*/ 3667539 w 5741575"/>
              <a:gd name="connsiteY60" fmla="*/ 263271 h 955271"/>
              <a:gd name="connsiteX61" fmla="*/ 3727614 w 5741575"/>
              <a:gd name="connsiteY61" fmla="*/ 258245 h 955271"/>
              <a:gd name="connsiteX62" fmla="*/ 3738369 w 5741575"/>
              <a:gd name="connsiteY62" fmla="*/ 234506 h 955271"/>
              <a:gd name="connsiteX63" fmla="*/ 3803670 w 5741575"/>
              <a:gd name="connsiteY63" fmla="*/ 236457 h 955271"/>
              <a:gd name="connsiteX64" fmla="*/ 3903080 w 5741575"/>
              <a:gd name="connsiteY64" fmla="*/ 241890 h 955271"/>
              <a:gd name="connsiteX65" fmla="*/ 4114838 w 5741575"/>
              <a:gd name="connsiteY65" fmla="*/ 238165 h 955271"/>
              <a:gd name="connsiteX66" fmla="*/ 4271023 w 5741575"/>
              <a:gd name="connsiteY66" fmla="*/ 241959 h 955271"/>
              <a:gd name="connsiteX67" fmla="*/ 4367397 w 5741575"/>
              <a:gd name="connsiteY67" fmla="*/ 271442 h 955271"/>
              <a:gd name="connsiteX68" fmla="*/ 4495366 w 5741575"/>
              <a:gd name="connsiteY68" fmla="*/ 271618 h 955271"/>
              <a:gd name="connsiteX69" fmla="*/ 4517347 w 5741575"/>
              <a:gd name="connsiteY69" fmla="*/ 275639 h 955271"/>
              <a:gd name="connsiteX70" fmla="*/ 4546116 w 5741575"/>
              <a:gd name="connsiteY70" fmla="*/ 268568 h 955271"/>
              <a:gd name="connsiteX71" fmla="*/ 4661259 w 5741575"/>
              <a:gd name="connsiteY71" fmla="*/ 238966 h 955271"/>
              <a:gd name="connsiteX72" fmla="*/ 4750403 w 5741575"/>
              <a:gd name="connsiteY72" fmla="*/ 204364 h 955271"/>
              <a:gd name="connsiteX73" fmla="*/ 4867614 w 5741575"/>
              <a:gd name="connsiteY73" fmla="*/ 208668 h 955271"/>
              <a:gd name="connsiteX74" fmla="*/ 4937036 w 5741575"/>
              <a:gd name="connsiteY74" fmla="*/ 195446 h 955271"/>
              <a:gd name="connsiteX75" fmla="*/ 5047626 w 5741575"/>
              <a:gd name="connsiteY75" fmla="*/ 149604 h 955271"/>
              <a:gd name="connsiteX76" fmla="*/ 5200247 w 5741575"/>
              <a:gd name="connsiteY76" fmla="*/ 142695 h 955271"/>
              <a:gd name="connsiteX77" fmla="*/ 5235691 w 5741575"/>
              <a:gd name="connsiteY77" fmla="*/ 173330 h 955271"/>
              <a:gd name="connsiteX78" fmla="*/ 5280133 w 5741575"/>
              <a:gd name="connsiteY78" fmla="*/ 189342 h 955271"/>
              <a:gd name="connsiteX79" fmla="*/ 5291963 w 5741575"/>
              <a:gd name="connsiteY79" fmla="*/ 139446 h 955271"/>
              <a:gd name="connsiteX80" fmla="*/ 5418472 w 5741575"/>
              <a:gd name="connsiteY80" fmla="*/ 89163 h 955271"/>
              <a:gd name="connsiteX81" fmla="*/ 5482354 w 5741575"/>
              <a:gd name="connsiteY81" fmla="*/ 69470 h 955271"/>
              <a:gd name="connsiteX82" fmla="*/ 5583280 w 5741575"/>
              <a:gd name="connsiteY82" fmla="*/ 49787 h 955271"/>
              <a:gd name="connsiteX83" fmla="*/ 5613766 w 5741575"/>
              <a:gd name="connsiteY83" fmla="*/ 41855 h 955271"/>
              <a:gd name="connsiteX84" fmla="*/ 5684952 w 5741575"/>
              <a:gd name="connsiteY84" fmla="*/ 26088 h 955271"/>
              <a:gd name="connsiteX85" fmla="*/ 5741575 w 5741575"/>
              <a:gd name="connsiteY85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6314 w 5741575"/>
              <a:gd name="connsiteY22" fmla="*/ 722473 h 955271"/>
              <a:gd name="connsiteX23" fmla="*/ 1278773 w 5741575"/>
              <a:gd name="connsiteY23" fmla="*/ 711503 h 955271"/>
              <a:gd name="connsiteX24" fmla="*/ 1317691 w 5741575"/>
              <a:gd name="connsiteY24" fmla="*/ 708529 h 955271"/>
              <a:gd name="connsiteX25" fmla="*/ 1360404 w 5741575"/>
              <a:gd name="connsiteY25" fmla="*/ 675922 h 955271"/>
              <a:gd name="connsiteX26" fmla="*/ 1412292 w 5741575"/>
              <a:gd name="connsiteY26" fmla="*/ 670793 h 955271"/>
              <a:gd name="connsiteX27" fmla="*/ 1494753 w 5741575"/>
              <a:gd name="connsiteY27" fmla="*/ 644686 h 955271"/>
              <a:gd name="connsiteX28" fmla="*/ 1616217 w 5741575"/>
              <a:gd name="connsiteY28" fmla="*/ 622107 h 955271"/>
              <a:gd name="connsiteX29" fmla="*/ 1710928 w 5741575"/>
              <a:gd name="connsiteY29" fmla="*/ 600666 h 955271"/>
              <a:gd name="connsiteX30" fmla="*/ 1743718 w 5741575"/>
              <a:gd name="connsiteY30" fmla="*/ 584327 h 955271"/>
              <a:gd name="connsiteX31" fmla="*/ 1873778 w 5741575"/>
              <a:gd name="connsiteY31" fmla="*/ 530130 h 955271"/>
              <a:gd name="connsiteX32" fmla="*/ 1988411 w 5741575"/>
              <a:gd name="connsiteY32" fmla="*/ 491599 h 955271"/>
              <a:gd name="connsiteX33" fmla="*/ 2085507 w 5741575"/>
              <a:gd name="connsiteY33" fmla="*/ 498527 h 955271"/>
              <a:gd name="connsiteX34" fmla="*/ 2090767 w 5741575"/>
              <a:gd name="connsiteY34" fmla="*/ 490616 h 955271"/>
              <a:gd name="connsiteX35" fmla="*/ 2151143 w 5741575"/>
              <a:gd name="connsiteY35" fmla="*/ 478332 h 955271"/>
              <a:gd name="connsiteX36" fmla="*/ 2378710 w 5741575"/>
              <a:gd name="connsiteY36" fmla="*/ 477570 h 955271"/>
              <a:gd name="connsiteX37" fmla="*/ 2496256 w 5741575"/>
              <a:gd name="connsiteY37" fmla="*/ 452396 h 955271"/>
              <a:gd name="connsiteX38" fmla="*/ 2535387 w 5741575"/>
              <a:gd name="connsiteY38" fmla="*/ 436645 h 955271"/>
              <a:gd name="connsiteX39" fmla="*/ 2601109 w 5741575"/>
              <a:gd name="connsiteY39" fmla="*/ 410678 h 955271"/>
              <a:gd name="connsiteX40" fmla="*/ 2643855 w 5741575"/>
              <a:gd name="connsiteY40" fmla="*/ 374482 h 955271"/>
              <a:gd name="connsiteX41" fmla="*/ 2657726 w 5741575"/>
              <a:gd name="connsiteY41" fmla="*/ 365841 h 955271"/>
              <a:gd name="connsiteX42" fmla="*/ 2687125 w 5741575"/>
              <a:gd name="connsiteY42" fmla="*/ 366820 h 955271"/>
              <a:gd name="connsiteX43" fmla="*/ 2697479 w 5741575"/>
              <a:gd name="connsiteY43" fmla="*/ 361430 h 955271"/>
              <a:gd name="connsiteX44" fmla="*/ 2701547 w 5741575"/>
              <a:gd name="connsiteY44" fmla="*/ 361545 h 955271"/>
              <a:gd name="connsiteX45" fmla="*/ 2711054 w 5741575"/>
              <a:gd name="connsiteY45" fmla="*/ 360597 h 955271"/>
              <a:gd name="connsiteX46" fmla="*/ 2710438 w 5741575"/>
              <a:gd name="connsiteY46" fmla="*/ 366958 h 955271"/>
              <a:gd name="connsiteX47" fmla="*/ 2711050 w 5741575"/>
              <a:gd name="connsiteY47" fmla="*/ 358572 h 955271"/>
              <a:gd name="connsiteX48" fmla="*/ 2777227 w 5741575"/>
              <a:gd name="connsiteY48" fmla="*/ 368972 h 955271"/>
              <a:gd name="connsiteX49" fmla="*/ 2779510 w 5741575"/>
              <a:gd name="connsiteY49" fmla="*/ 361652 h 955271"/>
              <a:gd name="connsiteX50" fmla="*/ 2786278 w 5741575"/>
              <a:gd name="connsiteY50" fmla="*/ 359869 h 955271"/>
              <a:gd name="connsiteX51" fmla="*/ 2792101 w 5741575"/>
              <a:gd name="connsiteY51" fmla="*/ 365927 h 955271"/>
              <a:gd name="connsiteX52" fmla="*/ 2885545 w 5741575"/>
              <a:gd name="connsiteY52" fmla="*/ 372818 h 955271"/>
              <a:gd name="connsiteX53" fmla="*/ 3009558 w 5741575"/>
              <a:gd name="connsiteY53" fmla="*/ 370573 h 955271"/>
              <a:gd name="connsiteX54" fmla="*/ 3095010 w 5741575"/>
              <a:gd name="connsiteY54" fmla="*/ 332454 h 955271"/>
              <a:gd name="connsiteX55" fmla="*/ 3103742 w 5741575"/>
              <a:gd name="connsiteY55" fmla="*/ 337974 h 955271"/>
              <a:gd name="connsiteX56" fmla="*/ 3165093 w 5741575"/>
              <a:gd name="connsiteY56" fmla="*/ 329459 h 955271"/>
              <a:gd name="connsiteX57" fmla="*/ 3373785 w 5741575"/>
              <a:gd name="connsiteY57" fmla="*/ 255680 h 955271"/>
              <a:gd name="connsiteX58" fmla="*/ 3493851 w 5741575"/>
              <a:gd name="connsiteY58" fmla="*/ 240255 h 955271"/>
              <a:gd name="connsiteX59" fmla="*/ 3537470 w 5741575"/>
              <a:gd name="connsiteY59" fmla="*/ 241867 h 955271"/>
              <a:gd name="connsiteX60" fmla="*/ 3610489 w 5741575"/>
              <a:gd name="connsiteY60" fmla="*/ 244128 h 955271"/>
              <a:gd name="connsiteX61" fmla="*/ 3667539 w 5741575"/>
              <a:gd name="connsiteY61" fmla="*/ 263271 h 955271"/>
              <a:gd name="connsiteX62" fmla="*/ 3727614 w 5741575"/>
              <a:gd name="connsiteY62" fmla="*/ 258245 h 955271"/>
              <a:gd name="connsiteX63" fmla="*/ 3738369 w 5741575"/>
              <a:gd name="connsiteY63" fmla="*/ 234506 h 955271"/>
              <a:gd name="connsiteX64" fmla="*/ 3803670 w 5741575"/>
              <a:gd name="connsiteY64" fmla="*/ 236457 h 955271"/>
              <a:gd name="connsiteX65" fmla="*/ 3903080 w 5741575"/>
              <a:gd name="connsiteY65" fmla="*/ 241890 h 955271"/>
              <a:gd name="connsiteX66" fmla="*/ 4114838 w 5741575"/>
              <a:gd name="connsiteY66" fmla="*/ 238165 h 955271"/>
              <a:gd name="connsiteX67" fmla="*/ 4271023 w 5741575"/>
              <a:gd name="connsiteY67" fmla="*/ 241959 h 955271"/>
              <a:gd name="connsiteX68" fmla="*/ 4367397 w 5741575"/>
              <a:gd name="connsiteY68" fmla="*/ 271442 h 955271"/>
              <a:gd name="connsiteX69" fmla="*/ 4495366 w 5741575"/>
              <a:gd name="connsiteY69" fmla="*/ 271618 h 955271"/>
              <a:gd name="connsiteX70" fmla="*/ 4517347 w 5741575"/>
              <a:gd name="connsiteY70" fmla="*/ 275639 h 955271"/>
              <a:gd name="connsiteX71" fmla="*/ 4546116 w 5741575"/>
              <a:gd name="connsiteY71" fmla="*/ 268568 h 955271"/>
              <a:gd name="connsiteX72" fmla="*/ 4661259 w 5741575"/>
              <a:gd name="connsiteY72" fmla="*/ 238966 h 955271"/>
              <a:gd name="connsiteX73" fmla="*/ 4750403 w 5741575"/>
              <a:gd name="connsiteY73" fmla="*/ 204364 h 955271"/>
              <a:gd name="connsiteX74" fmla="*/ 4867614 w 5741575"/>
              <a:gd name="connsiteY74" fmla="*/ 208668 h 955271"/>
              <a:gd name="connsiteX75" fmla="*/ 4937036 w 5741575"/>
              <a:gd name="connsiteY75" fmla="*/ 195446 h 955271"/>
              <a:gd name="connsiteX76" fmla="*/ 5047626 w 5741575"/>
              <a:gd name="connsiteY76" fmla="*/ 149604 h 955271"/>
              <a:gd name="connsiteX77" fmla="*/ 5200247 w 5741575"/>
              <a:gd name="connsiteY77" fmla="*/ 142695 h 955271"/>
              <a:gd name="connsiteX78" fmla="*/ 5235691 w 5741575"/>
              <a:gd name="connsiteY78" fmla="*/ 173330 h 955271"/>
              <a:gd name="connsiteX79" fmla="*/ 5280133 w 5741575"/>
              <a:gd name="connsiteY79" fmla="*/ 189342 h 955271"/>
              <a:gd name="connsiteX80" fmla="*/ 5291963 w 5741575"/>
              <a:gd name="connsiteY80" fmla="*/ 139446 h 955271"/>
              <a:gd name="connsiteX81" fmla="*/ 5418472 w 5741575"/>
              <a:gd name="connsiteY81" fmla="*/ 89163 h 955271"/>
              <a:gd name="connsiteX82" fmla="*/ 5482354 w 5741575"/>
              <a:gd name="connsiteY82" fmla="*/ 69470 h 955271"/>
              <a:gd name="connsiteX83" fmla="*/ 5583280 w 5741575"/>
              <a:gd name="connsiteY83" fmla="*/ 49787 h 955271"/>
              <a:gd name="connsiteX84" fmla="*/ 5613766 w 5741575"/>
              <a:gd name="connsiteY84" fmla="*/ 41855 h 955271"/>
              <a:gd name="connsiteX85" fmla="*/ 5684952 w 5741575"/>
              <a:gd name="connsiteY85" fmla="*/ 26088 h 955271"/>
              <a:gd name="connsiteX86" fmla="*/ 5741575 w 5741575"/>
              <a:gd name="connsiteY86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6314 w 5741575"/>
              <a:gd name="connsiteY22" fmla="*/ 722473 h 955271"/>
              <a:gd name="connsiteX23" fmla="*/ 1278773 w 5741575"/>
              <a:gd name="connsiteY23" fmla="*/ 711503 h 955271"/>
              <a:gd name="connsiteX24" fmla="*/ 1317691 w 5741575"/>
              <a:gd name="connsiteY24" fmla="*/ 708529 h 955271"/>
              <a:gd name="connsiteX25" fmla="*/ 1360404 w 5741575"/>
              <a:gd name="connsiteY25" fmla="*/ 675922 h 955271"/>
              <a:gd name="connsiteX26" fmla="*/ 1412292 w 5741575"/>
              <a:gd name="connsiteY26" fmla="*/ 670793 h 955271"/>
              <a:gd name="connsiteX27" fmla="*/ 1494753 w 5741575"/>
              <a:gd name="connsiteY27" fmla="*/ 644686 h 955271"/>
              <a:gd name="connsiteX28" fmla="*/ 1616217 w 5741575"/>
              <a:gd name="connsiteY28" fmla="*/ 622107 h 955271"/>
              <a:gd name="connsiteX29" fmla="*/ 1710928 w 5741575"/>
              <a:gd name="connsiteY29" fmla="*/ 600666 h 955271"/>
              <a:gd name="connsiteX30" fmla="*/ 1743718 w 5741575"/>
              <a:gd name="connsiteY30" fmla="*/ 584327 h 955271"/>
              <a:gd name="connsiteX31" fmla="*/ 1873778 w 5741575"/>
              <a:gd name="connsiteY31" fmla="*/ 530130 h 955271"/>
              <a:gd name="connsiteX32" fmla="*/ 1988411 w 5741575"/>
              <a:gd name="connsiteY32" fmla="*/ 491599 h 955271"/>
              <a:gd name="connsiteX33" fmla="*/ 2085507 w 5741575"/>
              <a:gd name="connsiteY33" fmla="*/ 498527 h 955271"/>
              <a:gd name="connsiteX34" fmla="*/ 2090767 w 5741575"/>
              <a:gd name="connsiteY34" fmla="*/ 490616 h 955271"/>
              <a:gd name="connsiteX35" fmla="*/ 2151143 w 5741575"/>
              <a:gd name="connsiteY35" fmla="*/ 478332 h 955271"/>
              <a:gd name="connsiteX36" fmla="*/ 2378710 w 5741575"/>
              <a:gd name="connsiteY36" fmla="*/ 477570 h 955271"/>
              <a:gd name="connsiteX37" fmla="*/ 2496256 w 5741575"/>
              <a:gd name="connsiteY37" fmla="*/ 452396 h 955271"/>
              <a:gd name="connsiteX38" fmla="*/ 2535387 w 5741575"/>
              <a:gd name="connsiteY38" fmla="*/ 436645 h 955271"/>
              <a:gd name="connsiteX39" fmla="*/ 2601109 w 5741575"/>
              <a:gd name="connsiteY39" fmla="*/ 410678 h 955271"/>
              <a:gd name="connsiteX40" fmla="*/ 2643855 w 5741575"/>
              <a:gd name="connsiteY40" fmla="*/ 374482 h 955271"/>
              <a:gd name="connsiteX41" fmla="*/ 2657726 w 5741575"/>
              <a:gd name="connsiteY41" fmla="*/ 365841 h 955271"/>
              <a:gd name="connsiteX42" fmla="*/ 2687125 w 5741575"/>
              <a:gd name="connsiteY42" fmla="*/ 366820 h 955271"/>
              <a:gd name="connsiteX43" fmla="*/ 2697479 w 5741575"/>
              <a:gd name="connsiteY43" fmla="*/ 361430 h 955271"/>
              <a:gd name="connsiteX44" fmla="*/ 2701547 w 5741575"/>
              <a:gd name="connsiteY44" fmla="*/ 361545 h 955271"/>
              <a:gd name="connsiteX45" fmla="*/ 2711054 w 5741575"/>
              <a:gd name="connsiteY45" fmla="*/ 360597 h 955271"/>
              <a:gd name="connsiteX46" fmla="*/ 2710438 w 5741575"/>
              <a:gd name="connsiteY46" fmla="*/ 366958 h 955271"/>
              <a:gd name="connsiteX47" fmla="*/ 2777227 w 5741575"/>
              <a:gd name="connsiteY47" fmla="*/ 368972 h 955271"/>
              <a:gd name="connsiteX48" fmla="*/ 2779510 w 5741575"/>
              <a:gd name="connsiteY48" fmla="*/ 361652 h 955271"/>
              <a:gd name="connsiteX49" fmla="*/ 2786278 w 5741575"/>
              <a:gd name="connsiteY49" fmla="*/ 359869 h 955271"/>
              <a:gd name="connsiteX50" fmla="*/ 2792101 w 5741575"/>
              <a:gd name="connsiteY50" fmla="*/ 365927 h 955271"/>
              <a:gd name="connsiteX51" fmla="*/ 2885545 w 5741575"/>
              <a:gd name="connsiteY51" fmla="*/ 372818 h 955271"/>
              <a:gd name="connsiteX52" fmla="*/ 3009558 w 5741575"/>
              <a:gd name="connsiteY52" fmla="*/ 370573 h 955271"/>
              <a:gd name="connsiteX53" fmla="*/ 3095010 w 5741575"/>
              <a:gd name="connsiteY53" fmla="*/ 332454 h 955271"/>
              <a:gd name="connsiteX54" fmla="*/ 3103742 w 5741575"/>
              <a:gd name="connsiteY54" fmla="*/ 337974 h 955271"/>
              <a:gd name="connsiteX55" fmla="*/ 3165093 w 5741575"/>
              <a:gd name="connsiteY55" fmla="*/ 329459 h 955271"/>
              <a:gd name="connsiteX56" fmla="*/ 3373785 w 5741575"/>
              <a:gd name="connsiteY56" fmla="*/ 255680 h 955271"/>
              <a:gd name="connsiteX57" fmla="*/ 3493851 w 5741575"/>
              <a:gd name="connsiteY57" fmla="*/ 240255 h 955271"/>
              <a:gd name="connsiteX58" fmla="*/ 3537470 w 5741575"/>
              <a:gd name="connsiteY58" fmla="*/ 241867 h 955271"/>
              <a:gd name="connsiteX59" fmla="*/ 3610489 w 5741575"/>
              <a:gd name="connsiteY59" fmla="*/ 244128 h 955271"/>
              <a:gd name="connsiteX60" fmla="*/ 3667539 w 5741575"/>
              <a:gd name="connsiteY60" fmla="*/ 263271 h 955271"/>
              <a:gd name="connsiteX61" fmla="*/ 3727614 w 5741575"/>
              <a:gd name="connsiteY61" fmla="*/ 258245 h 955271"/>
              <a:gd name="connsiteX62" fmla="*/ 3738369 w 5741575"/>
              <a:gd name="connsiteY62" fmla="*/ 234506 h 955271"/>
              <a:gd name="connsiteX63" fmla="*/ 3803670 w 5741575"/>
              <a:gd name="connsiteY63" fmla="*/ 236457 h 955271"/>
              <a:gd name="connsiteX64" fmla="*/ 3903080 w 5741575"/>
              <a:gd name="connsiteY64" fmla="*/ 241890 h 955271"/>
              <a:gd name="connsiteX65" fmla="*/ 4114838 w 5741575"/>
              <a:gd name="connsiteY65" fmla="*/ 238165 h 955271"/>
              <a:gd name="connsiteX66" fmla="*/ 4271023 w 5741575"/>
              <a:gd name="connsiteY66" fmla="*/ 241959 h 955271"/>
              <a:gd name="connsiteX67" fmla="*/ 4367397 w 5741575"/>
              <a:gd name="connsiteY67" fmla="*/ 271442 h 955271"/>
              <a:gd name="connsiteX68" fmla="*/ 4495366 w 5741575"/>
              <a:gd name="connsiteY68" fmla="*/ 271618 h 955271"/>
              <a:gd name="connsiteX69" fmla="*/ 4517347 w 5741575"/>
              <a:gd name="connsiteY69" fmla="*/ 275639 h 955271"/>
              <a:gd name="connsiteX70" fmla="*/ 4546116 w 5741575"/>
              <a:gd name="connsiteY70" fmla="*/ 268568 h 955271"/>
              <a:gd name="connsiteX71" fmla="*/ 4661259 w 5741575"/>
              <a:gd name="connsiteY71" fmla="*/ 238966 h 955271"/>
              <a:gd name="connsiteX72" fmla="*/ 4750403 w 5741575"/>
              <a:gd name="connsiteY72" fmla="*/ 204364 h 955271"/>
              <a:gd name="connsiteX73" fmla="*/ 4867614 w 5741575"/>
              <a:gd name="connsiteY73" fmla="*/ 208668 h 955271"/>
              <a:gd name="connsiteX74" fmla="*/ 4937036 w 5741575"/>
              <a:gd name="connsiteY74" fmla="*/ 195446 h 955271"/>
              <a:gd name="connsiteX75" fmla="*/ 5047626 w 5741575"/>
              <a:gd name="connsiteY75" fmla="*/ 149604 h 955271"/>
              <a:gd name="connsiteX76" fmla="*/ 5200247 w 5741575"/>
              <a:gd name="connsiteY76" fmla="*/ 142695 h 955271"/>
              <a:gd name="connsiteX77" fmla="*/ 5235691 w 5741575"/>
              <a:gd name="connsiteY77" fmla="*/ 173330 h 955271"/>
              <a:gd name="connsiteX78" fmla="*/ 5280133 w 5741575"/>
              <a:gd name="connsiteY78" fmla="*/ 189342 h 955271"/>
              <a:gd name="connsiteX79" fmla="*/ 5291963 w 5741575"/>
              <a:gd name="connsiteY79" fmla="*/ 139446 h 955271"/>
              <a:gd name="connsiteX80" fmla="*/ 5418472 w 5741575"/>
              <a:gd name="connsiteY80" fmla="*/ 89163 h 955271"/>
              <a:gd name="connsiteX81" fmla="*/ 5482354 w 5741575"/>
              <a:gd name="connsiteY81" fmla="*/ 69470 h 955271"/>
              <a:gd name="connsiteX82" fmla="*/ 5583280 w 5741575"/>
              <a:gd name="connsiteY82" fmla="*/ 49787 h 955271"/>
              <a:gd name="connsiteX83" fmla="*/ 5613766 w 5741575"/>
              <a:gd name="connsiteY83" fmla="*/ 41855 h 955271"/>
              <a:gd name="connsiteX84" fmla="*/ 5684952 w 5741575"/>
              <a:gd name="connsiteY84" fmla="*/ 26088 h 955271"/>
              <a:gd name="connsiteX85" fmla="*/ 5741575 w 5741575"/>
              <a:gd name="connsiteY85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6314 w 5741575"/>
              <a:gd name="connsiteY22" fmla="*/ 722473 h 955271"/>
              <a:gd name="connsiteX23" fmla="*/ 1278773 w 5741575"/>
              <a:gd name="connsiteY23" fmla="*/ 711503 h 955271"/>
              <a:gd name="connsiteX24" fmla="*/ 1317691 w 5741575"/>
              <a:gd name="connsiteY24" fmla="*/ 708529 h 955271"/>
              <a:gd name="connsiteX25" fmla="*/ 1360404 w 5741575"/>
              <a:gd name="connsiteY25" fmla="*/ 675922 h 955271"/>
              <a:gd name="connsiteX26" fmla="*/ 1412292 w 5741575"/>
              <a:gd name="connsiteY26" fmla="*/ 670793 h 955271"/>
              <a:gd name="connsiteX27" fmla="*/ 1494753 w 5741575"/>
              <a:gd name="connsiteY27" fmla="*/ 644686 h 955271"/>
              <a:gd name="connsiteX28" fmla="*/ 1616217 w 5741575"/>
              <a:gd name="connsiteY28" fmla="*/ 622107 h 955271"/>
              <a:gd name="connsiteX29" fmla="*/ 1710928 w 5741575"/>
              <a:gd name="connsiteY29" fmla="*/ 600666 h 955271"/>
              <a:gd name="connsiteX30" fmla="*/ 1743718 w 5741575"/>
              <a:gd name="connsiteY30" fmla="*/ 584327 h 955271"/>
              <a:gd name="connsiteX31" fmla="*/ 1873778 w 5741575"/>
              <a:gd name="connsiteY31" fmla="*/ 530130 h 955271"/>
              <a:gd name="connsiteX32" fmla="*/ 1988411 w 5741575"/>
              <a:gd name="connsiteY32" fmla="*/ 491599 h 955271"/>
              <a:gd name="connsiteX33" fmla="*/ 2085507 w 5741575"/>
              <a:gd name="connsiteY33" fmla="*/ 498527 h 955271"/>
              <a:gd name="connsiteX34" fmla="*/ 2090767 w 5741575"/>
              <a:gd name="connsiteY34" fmla="*/ 490616 h 955271"/>
              <a:gd name="connsiteX35" fmla="*/ 2151143 w 5741575"/>
              <a:gd name="connsiteY35" fmla="*/ 478332 h 955271"/>
              <a:gd name="connsiteX36" fmla="*/ 2378710 w 5741575"/>
              <a:gd name="connsiteY36" fmla="*/ 477570 h 955271"/>
              <a:gd name="connsiteX37" fmla="*/ 2496256 w 5741575"/>
              <a:gd name="connsiteY37" fmla="*/ 452396 h 955271"/>
              <a:gd name="connsiteX38" fmla="*/ 2535387 w 5741575"/>
              <a:gd name="connsiteY38" fmla="*/ 436645 h 955271"/>
              <a:gd name="connsiteX39" fmla="*/ 2601109 w 5741575"/>
              <a:gd name="connsiteY39" fmla="*/ 410678 h 955271"/>
              <a:gd name="connsiteX40" fmla="*/ 2643855 w 5741575"/>
              <a:gd name="connsiteY40" fmla="*/ 374482 h 955271"/>
              <a:gd name="connsiteX41" fmla="*/ 2657726 w 5741575"/>
              <a:gd name="connsiteY41" fmla="*/ 365841 h 955271"/>
              <a:gd name="connsiteX42" fmla="*/ 2687125 w 5741575"/>
              <a:gd name="connsiteY42" fmla="*/ 366820 h 955271"/>
              <a:gd name="connsiteX43" fmla="*/ 2697479 w 5741575"/>
              <a:gd name="connsiteY43" fmla="*/ 361430 h 955271"/>
              <a:gd name="connsiteX44" fmla="*/ 2701547 w 5741575"/>
              <a:gd name="connsiteY44" fmla="*/ 361545 h 955271"/>
              <a:gd name="connsiteX45" fmla="*/ 2711054 w 5741575"/>
              <a:gd name="connsiteY45" fmla="*/ 360597 h 955271"/>
              <a:gd name="connsiteX46" fmla="*/ 2777227 w 5741575"/>
              <a:gd name="connsiteY46" fmla="*/ 368972 h 955271"/>
              <a:gd name="connsiteX47" fmla="*/ 2779510 w 5741575"/>
              <a:gd name="connsiteY47" fmla="*/ 361652 h 955271"/>
              <a:gd name="connsiteX48" fmla="*/ 2786278 w 5741575"/>
              <a:gd name="connsiteY48" fmla="*/ 359869 h 955271"/>
              <a:gd name="connsiteX49" fmla="*/ 2792101 w 5741575"/>
              <a:gd name="connsiteY49" fmla="*/ 365927 h 955271"/>
              <a:gd name="connsiteX50" fmla="*/ 2885545 w 5741575"/>
              <a:gd name="connsiteY50" fmla="*/ 372818 h 955271"/>
              <a:gd name="connsiteX51" fmla="*/ 3009558 w 5741575"/>
              <a:gd name="connsiteY51" fmla="*/ 370573 h 955271"/>
              <a:gd name="connsiteX52" fmla="*/ 3095010 w 5741575"/>
              <a:gd name="connsiteY52" fmla="*/ 332454 h 955271"/>
              <a:gd name="connsiteX53" fmla="*/ 3103742 w 5741575"/>
              <a:gd name="connsiteY53" fmla="*/ 337974 h 955271"/>
              <a:gd name="connsiteX54" fmla="*/ 3165093 w 5741575"/>
              <a:gd name="connsiteY54" fmla="*/ 329459 h 955271"/>
              <a:gd name="connsiteX55" fmla="*/ 3373785 w 5741575"/>
              <a:gd name="connsiteY55" fmla="*/ 255680 h 955271"/>
              <a:gd name="connsiteX56" fmla="*/ 3493851 w 5741575"/>
              <a:gd name="connsiteY56" fmla="*/ 240255 h 955271"/>
              <a:gd name="connsiteX57" fmla="*/ 3537470 w 5741575"/>
              <a:gd name="connsiteY57" fmla="*/ 241867 h 955271"/>
              <a:gd name="connsiteX58" fmla="*/ 3610489 w 5741575"/>
              <a:gd name="connsiteY58" fmla="*/ 244128 h 955271"/>
              <a:gd name="connsiteX59" fmla="*/ 3667539 w 5741575"/>
              <a:gd name="connsiteY59" fmla="*/ 263271 h 955271"/>
              <a:gd name="connsiteX60" fmla="*/ 3727614 w 5741575"/>
              <a:gd name="connsiteY60" fmla="*/ 258245 h 955271"/>
              <a:gd name="connsiteX61" fmla="*/ 3738369 w 5741575"/>
              <a:gd name="connsiteY61" fmla="*/ 234506 h 955271"/>
              <a:gd name="connsiteX62" fmla="*/ 3803670 w 5741575"/>
              <a:gd name="connsiteY62" fmla="*/ 236457 h 955271"/>
              <a:gd name="connsiteX63" fmla="*/ 3903080 w 5741575"/>
              <a:gd name="connsiteY63" fmla="*/ 241890 h 955271"/>
              <a:gd name="connsiteX64" fmla="*/ 4114838 w 5741575"/>
              <a:gd name="connsiteY64" fmla="*/ 238165 h 955271"/>
              <a:gd name="connsiteX65" fmla="*/ 4271023 w 5741575"/>
              <a:gd name="connsiteY65" fmla="*/ 241959 h 955271"/>
              <a:gd name="connsiteX66" fmla="*/ 4367397 w 5741575"/>
              <a:gd name="connsiteY66" fmla="*/ 271442 h 955271"/>
              <a:gd name="connsiteX67" fmla="*/ 4495366 w 5741575"/>
              <a:gd name="connsiteY67" fmla="*/ 271618 h 955271"/>
              <a:gd name="connsiteX68" fmla="*/ 4517347 w 5741575"/>
              <a:gd name="connsiteY68" fmla="*/ 275639 h 955271"/>
              <a:gd name="connsiteX69" fmla="*/ 4546116 w 5741575"/>
              <a:gd name="connsiteY69" fmla="*/ 268568 h 955271"/>
              <a:gd name="connsiteX70" fmla="*/ 4661259 w 5741575"/>
              <a:gd name="connsiteY70" fmla="*/ 238966 h 955271"/>
              <a:gd name="connsiteX71" fmla="*/ 4750403 w 5741575"/>
              <a:gd name="connsiteY71" fmla="*/ 204364 h 955271"/>
              <a:gd name="connsiteX72" fmla="*/ 4867614 w 5741575"/>
              <a:gd name="connsiteY72" fmla="*/ 208668 h 955271"/>
              <a:gd name="connsiteX73" fmla="*/ 4937036 w 5741575"/>
              <a:gd name="connsiteY73" fmla="*/ 195446 h 955271"/>
              <a:gd name="connsiteX74" fmla="*/ 5047626 w 5741575"/>
              <a:gd name="connsiteY74" fmla="*/ 149604 h 955271"/>
              <a:gd name="connsiteX75" fmla="*/ 5200247 w 5741575"/>
              <a:gd name="connsiteY75" fmla="*/ 142695 h 955271"/>
              <a:gd name="connsiteX76" fmla="*/ 5235691 w 5741575"/>
              <a:gd name="connsiteY76" fmla="*/ 173330 h 955271"/>
              <a:gd name="connsiteX77" fmla="*/ 5280133 w 5741575"/>
              <a:gd name="connsiteY77" fmla="*/ 189342 h 955271"/>
              <a:gd name="connsiteX78" fmla="*/ 5291963 w 5741575"/>
              <a:gd name="connsiteY78" fmla="*/ 139446 h 955271"/>
              <a:gd name="connsiteX79" fmla="*/ 5418472 w 5741575"/>
              <a:gd name="connsiteY79" fmla="*/ 89163 h 955271"/>
              <a:gd name="connsiteX80" fmla="*/ 5482354 w 5741575"/>
              <a:gd name="connsiteY80" fmla="*/ 69470 h 955271"/>
              <a:gd name="connsiteX81" fmla="*/ 5583280 w 5741575"/>
              <a:gd name="connsiteY81" fmla="*/ 49787 h 955271"/>
              <a:gd name="connsiteX82" fmla="*/ 5613766 w 5741575"/>
              <a:gd name="connsiteY82" fmla="*/ 41855 h 955271"/>
              <a:gd name="connsiteX83" fmla="*/ 5684952 w 5741575"/>
              <a:gd name="connsiteY83" fmla="*/ 26088 h 955271"/>
              <a:gd name="connsiteX84" fmla="*/ 5741575 w 5741575"/>
              <a:gd name="connsiteY84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6314 w 5741575"/>
              <a:gd name="connsiteY22" fmla="*/ 722473 h 955271"/>
              <a:gd name="connsiteX23" fmla="*/ 1278773 w 5741575"/>
              <a:gd name="connsiteY23" fmla="*/ 711503 h 955271"/>
              <a:gd name="connsiteX24" fmla="*/ 1317691 w 5741575"/>
              <a:gd name="connsiteY24" fmla="*/ 708529 h 955271"/>
              <a:gd name="connsiteX25" fmla="*/ 1360404 w 5741575"/>
              <a:gd name="connsiteY25" fmla="*/ 675922 h 955271"/>
              <a:gd name="connsiteX26" fmla="*/ 1412292 w 5741575"/>
              <a:gd name="connsiteY26" fmla="*/ 670793 h 955271"/>
              <a:gd name="connsiteX27" fmla="*/ 1494753 w 5741575"/>
              <a:gd name="connsiteY27" fmla="*/ 644686 h 955271"/>
              <a:gd name="connsiteX28" fmla="*/ 1616217 w 5741575"/>
              <a:gd name="connsiteY28" fmla="*/ 622107 h 955271"/>
              <a:gd name="connsiteX29" fmla="*/ 1710928 w 5741575"/>
              <a:gd name="connsiteY29" fmla="*/ 600666 h 955271"/>
              <a:gd name="connsiteX30" fmla="*/ 1743718 w 5741575"/>
              <a:gd name="connsiteY30" fmla="*/ 584327 h 955271"/>
              <a:gd name="connsiteX31" fmla="*/ 1873778 w 5741575"/>
              <a:gd name="connsiteY31" fmla="*/ 530130 h 955271"/>
              <a:gd name="connsiteX32" fmla="*/ 1988411 w 5741575"/>
              <a:gd name="connsiteY32" fmla="*/ 491599 h 955271"/>
              <a:gd name="connsiteX33" fmla="*/ 2085507 w 5741575"/>
              <a:gd name="connsiteY33" fmla="*/ 498527 h 955271"/>
              <a:gd name="connsiteX34" fmla="*/ 2090767 w 5741575"/>
              <a:gd name="connsiteY34" fmla="*/ 490616 h 955271"/>
              <a:gd name="connsiteX35" fmla="*/ 2151143 w 5741575"/>
              <a:gd name="connsiteY35" fmla="*/ 478332 h 955271"/>
              <a:gd name="connsiteX36" fmla="*/ 2378710 w 5741575"/>
              <a:gd name="connsiteY36" fmla="*/ 477570 h 955271"/>
              <a:gd name="connsiteX37" fmla="*/ 2496256 w 5741575"/>
              <a:gd name="connsiteY37" fmla="*/ 452396 h 955271"/>
              <a:gd name="connsiteX38" fmla="*/ 2535387 w 5741575"/>
              <a:gd name="connsiteY38" fmla="*/ 436645 h 955271"/>
              <a:gd name="connsiteX39" fmla="*/ 2601109 w 5741575"/>
              <a:gd name="connsiteY39" fmla="*/ 410678 h 955271"/>
              <a:gd name="connsiteX40" fmla="*/ 2643855 w 5741575"/>
              <a:gd name="connsiteY40" fmla="*/ 374482 h 955271"/>
              <a:gd name="connsiteX41" fmla="*/ 2657726 w 5741575"/>
              <a:gd name="connsiteY41" fmla="*/ 365841 h 955271"/>
              <a:gd name="connsiteX42" fmla="*/ 2687125 w 5741575"/>
              <a:gd name="connsiteY42" fmla="*/ 366820 h 955271"/>
              <a:gd name="connsiteX43" fmla="*/ 2697479 w 5741575"/>
              <a:gd name="connsiteY43" fmla="*/ 361430 h 955271"/>
              <a:gd name="connsiteX44" fmla="*/ 2701547 w 5741575"/>
              <a:gd name="connsiteY44" fmla="*/ 361545 h 955271"/>
              <a:gd name="connsiteX45" fmla="*/ 2711054 w 5741575"/>
              <a:gd name="connsiteY45" fmla="*/ 360597 h 955271"/>
              <a:gd name="connsiteX46" fmla="*/ 2777227 w 5741575"/>
              <a:gd name="connsiteY46" fmla="*/ 368972 h 955271"/>
              <a:gd name="connsiteX47" fmla="*/ 2779510 w 5741575"/>
              <a:gd name="connsiteY47" fmla="*/ 361652 h 955271"/>
              <a:gd name="connsiteX48" fmla="*/ 2786278 w 5741575"/>
              <a:gd name="connsiteY48" fmla="*/ 359869 h 955271"/>
              <a:gd name="connsiteX49" fmla="*/ 2885545 w 5741575"/>
              <a:gd name="connsiteY49" fmla="*/ 372818 h 955271"/>
              <a:gd name="connsiteX50" fmla="*/ 3009558 w 5741575"/>
              <a:gd name="connsiteY50" fmla="*/ 370573 h 955271"/>
              <a:gd name="connsiteX51" fmla="*/ 3095010 w 5741575"/>
              <a:gd name="connsiteY51" fmla="*/ 332454 h 955271"/>
              <a:gd name="connsiteX52" fmla="*/ 3103742 w 5741575"/>
              <a:gd name="connsiteY52" fmla="*/ 337974 h 955271"/>
              <a:gd name="connsiteX53" fmla="*/ 3165093 w 5741575"/>
              <a:gd name="connsiteY53" fmla="*/ 329459 h 955271"/>
              <a:gd name="connsiteX54" fmla="*/ 3373785 w 5741575"/>
              <a:gd name="connsiteY54" fmla="*/ 255680 h 955271"/>
              <a:gd name="connsiteX55" fmla="*/ 3493851 w 5741575"/>
              <a:gd name="connsiteY55" fmla="*/ 240255 h 955271"/>
              <a:gd name="connsiteX56" fmla="*/ 3537470 w 5741575"/>
              <a:gd name="connsiteY56" fmla="*/ 241867 h 955271"/>
              <a:gd name="connsiteX57" fmla="*/ 3610489 w 5741575"/>
              <a:gd name="connsiteY57" fmla="*/ 244128 h 955271"/>
              <a:gd name="connsiteX58" fmla="*/ 3667539 w 5741575"/>
              <a:gd name="connsiteY58" fmla="*/ 263271 h 955271"/>
              <a:gd name="connsiteX59" fmla="*/ 3727614 w 5741575"/>
              <a:gd name="connsiteY59" fmla="*/ 258245 h 955271"/>
              <a:gd name="connsiteX60" fmla="*/ 3738369 w 5741575"/>
              <a:gd name="connsiteY60" fmla="*/ 234506 h 955271"/>
              <a:gd name="connsiteX61" fmla="*/ 3803670 w 5741575"/>
              <a:gd name="connsiteY61" fmla="*/ 236457 h 955271"/>
              <a:gd name="connsiteX62" fmla="*/ 3903080 w 5741575"/>
              <a:gd name="connsiteY62" fmla="*/ 241890 h 955271"/>
              <a:gd name="connsiteX63" fmla="*/ 4114838 w 5741575"/>
              <a:gd name="connsiteY63" fmla="*/ 238165 h 955271"/>
              <a:gd name="connsiteX64" fmla="*/ 4271023 w 5741575"/>
              <a:gd name="connsiteY64" fmla="*/ 241959 h 955271"/>
              <a:gd name="connsiteX65" fmla="*/ 4367397 w 5741575"/>
              <a:gd name="connsiteY65" fmla="*/ 271442 h 955271"/>
              <a:gd name="connsiteX66" fmla="*/ 4495366 w 5741575"/>
              <a:gd name="connsiteY66" fmla="*/ 271618 h 955271"/>
              <a:gd name="connsiteX67" fmla="*/ 4517347 w 5741575"/>
              <a:gd name="connsiteY67" fmla="*/ 275639 h 955271"/>
              <a:gd name="connsiteX68" fmla="*/ 4546116 w 5741575"/>
              <a:gd name="connsiteY68" fmla="*/ 268568 h 955271"/>
              <a:gd name="connsiteX69" fmla="*/ 4661259 w 5741575"/>
              <a:gd name="connsiteY69" fmla="*/ 238966 h 955271"/>
              <a:gd name="connsiteX70" fmla="*/ 4750403 w 5741575"/>
              <a:gd name="connsiteY70" fmla="*/ 204364 h 955271"/>
              <a:gd name="connsiteX71" fmla="*/ 4867614 w 5741575"/>
              <a:gd name="connsiteY71" fmla="*/ 208668 h 955271"/>
              <a:gd name="connsiteX72" fmla="*/ 4937036 w 5741575"/>
              <a:gd name="connsiteY72" fmla="*/ 195446 h 955271"/>
              <a:gd name="connsiteX73" fmla="*/ 5047626 w 5741575"/>
              <a:gd name="connsiteY73" fmla="*/ 149604 h 955271"/>
              <a:gd name="connsiteX74" fmla="*/ 5200247 w 5741575"/>
              <a:gd name="connsiteY74" fmla="*/ 142695 h 955271"/>
              <a:gd name="connsiteX75" fmla="*/ 5235691 w 5741575"/>
              <a:gd name="connsiteY75" fmla="*/ 173330 h 955271"/>
              <a:gd name="connsiteX76" fmla="*/ 5280133 w 5741575"/>
              <a:gd name="connsiteY76" fmla="*/ 189342 h 955271"/>
              <a:gd name="connsiteX77" fmla="*/ 5291963 w 5741575"/>
              <a:gd name="connsiteY77" fmla="*/ 139446 h 955271"/>
              <a:gd name="connsiteX78" fmla="*/ 5418472 w 5741575"/>
              <a:gd name="connsiteY78" fmla="*/ 89163 h 955271"/>
              <a:gd name="connsiteX79" fmla="*/ 5482354 w 5741575"/>
              <a:gd name="connsiteY79" fmla="*/ 69470 h 955271"/>
              <a:gd name="connsiteX80" fmla="*/ 5583280 w 5741575"/>
              <a:gd name="connsiteY80" fmla="*/ 49787 h 955271"/>
              <a:gd name="connsiteX81" fmla="*/ 5613766 w 5741575"/>
              <a:gd name="connsiteY81" fmla="*/ 41855 h 955271"/>
              <a:gd name="connsiteX82" fmla="*/ 5684952 w 5741575"/>
              <a:gd name="connsiteY82" fmla="*/ 26088 h 955271"/>
              <a:gd name="connsiteX83" fmla="*/ 5741575 w 5741575"/>
              <a:gd name="connsiteY83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6314 w 5741575"/>
              <a:gd name="connsiteY22" fmla="*/ 722473 h 955271"/>
              <a:gd name="connsiteX23" fmla="*/ 1278773 w 5741575"/>
              <a:gd name="connsiteY23" fmla="*/ 711503 h 955271"/>
              <a:gd name="connsiteX24" fmla="*/ 1317691 w 5741575"/>
              <a:gd name="connsiteY24" fmla="*/ 708529 h 955271"/>
              <a:gd name="connsiteX25" fmla="*/ 1360404 w 5741575"/>
              <a:gd name="connsiteY25" fmla="*/ 675922 h 955271"/>
              <a:gd name="connsiteX26" fmla="*/ 1412292 w 5741575"/>
              <a:gd name="connsiteY26" fmla="*/ 670793 h 955271"/>
              <a:gd name="connsiteX27" fmla="*/ 1494753 w 5741575"/>
              <a:gd name="connsiteY27" fmla="*/ 644686 h 955271"/>
              <a:gd name="connsiteX28" fmla="*/ 1616217 w 5741575"/>
              <a:gd name="connsiteY28" fmla="*/ 622107 h 955271"/>
              <a:gd name="connsiteX29" fmla="*/ 1710928 w 5741575"/>
              <a:gd name="connsiteY29" fmla="*/ 600666 h 955271"/>
              <a:gd name="connsiteX30" fmla="*/ 1743718 w 5741575"/>
              <a:gd name="connsiteY30" fmla="*/ 584327 h 955271"/>
              <a:gd name="connsiteX31" fmla="*/ 1873778 w 5741575"/>
              <a:gd name="connsiteY31" fmla="*/ 530130 h 955271"/>
              <a:gd name="connsiteX32" fmla="*/ 1988411 w 5741575"/>
              <a:gd name="connsiteY32" fmla="*/ 491599 h 955271"/>
              <a:gd name="connsiteX33" fmla="*/ 2085507 w 5741575"/>
              <a:gd name="connsiteY33" fmla="*/ 498527 h 955271"/>
              <a:gd name="connsiteX34" fmla="*/ 2090767 w 5741575"/>
              <a:gd name="connsiteY34" fmla="*/ 490616 h 955271"/>
              <a:gd name="connsiteX35" fmla="*/ 2151143 w 5741575"/>
              <a:gd name="connsiteY35" fmla="*/ 478332 h 955271"/>
              <a:gd name="connsiteX36" fmla="*/ 2378710 w 5741575"/>
              <a:gd name="connsiteY36" fmla="*/ 477570 h 955271"/>
              <a:gd name="connsiteX37" fmla="*/ 2496256 w 5741575"/>
              <a:gd name="connsiteY37" fmla="*/ 452396 h 955271"/>
              <a:gd name="connsiteX38" fmla="*/ 2535387 w 5741575"/>
              <a:gd name="connsiteY38" fmla="*/ 436645 h 955271"/>
              <a:gd name="connsiteX39" fmla="*/ 2601109 w 5741575"/>
              <a:gd name="connsiteY39" fmla="*/ 410678 h 955271"/>
              <a:gd name="connsiteX40" fmla="*/ 2643855 w 5741575"/>
              <a:gd name="connsiteY40" fmla="*/ 374482 h 955271"/>
              <a:gd name="connsiteX41" fmla="*/ 2657726 w 5741575"/>
              <a:gd name="connsiteY41" fmla="*/ 365841 h 955271"/>
              <a:gd name="connsiteX42" fmla="*/ 2687125 w 5741575"/>
              <a:gd name="connsiteY42" fmla="*/ 366820 h 955271"/>
              <a:gd name="connsiteX43" fmla="*/ 2697479 w 5741575"/>
              <a:gd name="connsiteY43" fmla="*/ 361430 h 955271"/>
              <a:gd name="connsiteX44" fmla="*/ 2701547 w 5741575"/>
              <a:gd name="connsiteY44" fmla="*/ 361545 h 955271"/>
              <a:gd name="connsiteX45" fmla="*/ 2711054 w 5741575"/>
              <a:gd name="connsiteY45" fmla="*/ 360597 h 955271"/>
              <a:gd name="connsiteX46" fmla="*/ 2777227 w 5741575"/>
              <a:gd name="connsiteY46" fmla="*/ 368972 h 955271"/>
              <a:gd name="connsiteX47" fmla="*/ 2779510 w 5741575"/>
              <a:gd name="connsiteY47" fmla="*/ 361652 h 955271"/>
              <a:gd name="connsiteX48" fmla="*/ 2885545 w 5741575"/>
              <a:gd name="connsiteY48" fmla="*/ 372818 h 955271"/>
              <a:gd name="connsiteX49" fmla="*/ 3009558 w 5741575"/>
              <a:gd name="connsiteY49" fmla="*/ 370573 h 955271"/>
              <a:gd name="connsiteX50" fmla="*/ 3095010 w 5741575"/>
              <a:gd name="connsiteY50" fmla="*/ 332454 h 955271"/>
              <a:gd name="connsiteX51" fmla="*/ 3103742 w 5741575"/>
              <a:gd name="connsiteY51" fmla="*/ 337974 h 955271"/>
              <a:gd name="connsiteX52" fmla="*/ 3165093 w 5741575"/>
              <a:gd name="connsiteY52" fmla="*/ 329459 h 955271"/>
              <a:gd name="connsiteX53" fmla="*/ 3373785 w 5741575"/>
              <a:gd name="connsiteY53" fmla="*/ 255680 h 955271"/>
              <a:gd name="connsiteX54" fmla="*/ 3493851 w 5741575"/>
              <a:gd name="connsiteY54" fmla="*/ 240255 h 955271"/>
              <a:gd name="connsiteX55" fmla="*/ 3537470 w 5741575"/>
              <a:gd name="connsiteY55" fmla="*/ 241867 h 955271"/>
              <a:gd name="connsiteX56" fmla="*/ 3610489 w 5741575"/>
              <a:gd name="connsiteY56" fmla="*/ 244128 h 955271"/>
              <a:gd name="connsiteX57" fmla="*/ 3667539 w 5741575"/>
              <a:gd name="connsiteY57" fmla="*/ 263271 h 955271"/>
              <a:gd name="connsiteX58" fmla="*/ 3727614 w 5741575"/>
              <a:gd name="connsiteY58" fmla="*/ 258245 h 955271"/>
              <a:gd name="connsiteX59" fmla="*/ 3738369 w 5741575"/>
              <a:gd name="connsiteY59" fmla="*/ 234506 h 955271"/>
              <a:gd name="connsiteX60" fmla="*/ 3803670 w 5741575"/>
              <a:gd name="connsiteY60" fmla="*/ 236457 h 955271"/>
              <a:gd name="connsiteX61" fmla="*/ 3903080 w 5741575"/>
              <a:gd name="connsiteY61" fmla="*/ 241890 h 955271"/>
              <a:gd name="connsiteX62" fmla="*/ 4114838 w 5741575"/>
              <a:gd name="connsiteY62" fmla="*/ 238165 h 955271"/>
              <a:gd name="connsiteX63" fmla="*/ 4271023 w 5741575"/>
              <a:gd name="connsiteY63" fmla="*/ 241959 h 955271"/>
              <a:gd name="connsiteX64" fmla="*/ 4367397 w 5741575"/>
              <a:gd name="connsiteY64" fmla="*/ 271442 h 955271"/>
              <a:gd name="connsiteX65" fmla="*/ 4495366 w 5741575"/>
              <a:gd name="connsiteY65" fmla="*/ 271618 h 955271"/>
              <a:gd name="connsiteX66" fmla="*/ 4517347 w 5741575"/>
              <a:gd name="connsiteY66" fmla="*/ 275639 h 955271"/>
              <a:gd name="connsiteX67" fmla="*/ 4546116 w 5741575"/>
              <a:gd name="connsiteY67" fmla="*/ 268568 h 955271"/>
              <a:gd name="connsiteX68" fmla="*/ 4661259 w 5741575"/>
              <a:gd name="connsiteY68" fmla="*/ 238966 h 955271"/>
              <a:gd name="connsiteX69" fmla="*/ 4750403 w 5741575"/>
              <a:gd name="connsiteY69" fmla="*/ 204364 h 955271"/>
              <a:gd name="connsiteX70" fmla="*/ 4867614 w 5741575"/>
              <a:gd name="connsiteY70" fmla="*/ 208668 h 955271"/>
              <a:gd name="connsiteX71" fmla="*/ 4937036 w 5741575"/>
              <a:gd name="connsiteY71" fmla="*/ 195446 h 955271"/>
              <a:gd name="connsiteX72" fmla="*/ 5047626 w 5741575"/>
              <a:gd name="connsiteY72" fmla="*/ 149604 h 955271"/>
              <a:gd name="connsiteX73" fmla="*/ 5200247 w 5741575"/>
              <a:gd name="connsiteY73" fmla="*/ 142695 h 955271"/>
              <a:gd name="connsiteX74" fmla="*/ 5235691 w 5741575"/>
              <a:gd name="connsiteY74" fmla="*/ 173330 h 955271"/>
              <a:gd name="connsiteX75" fmla="*/ 5280133 w 5741575"/>
              <a:gd name="connsiteY75" fmla="*/ 189342 h 955271"/>
              <a:gd name="connsiteX76" fmla="*/ 5291963 w 5741575"/>
              <a:gd name="connsiteY76" fmla="*/ 139446 h 955271"/>
              <a:gd name="connsiteX77" fmla="*/ 5418472 w 5741575"/>
              <a:gd name="connsiteY77" fmla="*/ 89163 h 955271"/>
              <a:gd name="connsiteX78" fmla="*/ 5482354 w 5741575"/>
              <a:gd name="connsiteY78" fmla="*/ 69470 h 955271"/>
              <a:gd name="connsiteX79" fmla="*/ 5583280 w 5741575"/>
              <a:gd name="connsiteY79" fmla="*/ 49787 h 955271"/>
              <a:gd name="connsiteX80" fmla="*/ 5613766 w 5741575"/>
              <a:gd name="connsiteY80" fmla="*/ 41855 h 955271"/>
              <a:gd name="connsiteX81" fmla="*/ 5684952 w 5741575"/>
              <a:gd name="connsiteY81" fmla="*/ 26088 h 955271"/>
              <a:gd name="connsiteX82" fmla="*/ 5741575 w 5741575"/>
              <a:gd name="connsiteY82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6314 w 5741575"/>
              <a:gd name="connsiteY22" fmla="*/ 722473 h 955271"/>
              <a:gd name="connsiteX23" fmla="*/ 1278773 w 5741575"/>
              <a:gd name="connsiteY23" fmla="*/ 711503 h 955271"/>
              <a:gd name="connsiteX24" fmla="*/ 1317691 w 5741575"/>
              <a:gd name="connsiteY24" fmla="*/ 708529 h 955271"/>
              <a:gd name="connsiteX25" fmla="*/ 1360404 w 5741575"/>
              <a:gd name="connsiteY25" fmla="*/ 675922 h 955271"/>
              <a:gd name="connsiteX26" fmla="*/ 1412292 w 5741575"/>
              <a:gd name="connsiteY26" fmla="*/ 670793 h 955271"/>
              <a:gd name="connsiteX27" fmla="*/ 1494753 w 5741575"/>
              <a:gd name="connsiteY27" fmla="*/ 644686 h 955271"/>
              <a:gd name="connsiteX28" fmla="*/ 1616217 w 5741575"/>
              <a:gd name="connsiteY28" fmla="*/ 622107 h 955271"/>
              <a:gd name="connsiteX29" fmla="*/ 1710928 w 5741575"/>
              <a:gd name="connsiteY29" fmla="*/ 600666 h 955271"/>
              <a:gd name="connsiteX30" fmla="*/ 1743718 w 5741575"/>
              <a:gd name="connsiteY30" fmla="*/ 584327 h 955271"/>
              <a:gd name="connsiteX31" fmla="*/ 1873778 w 5741575"/>
              <a:gd name="connsiteY31" fmla="*/ 530130 h 955271"/>
              <a:gd name="connsiteX32" fmla="*/ 1988411 w 5741575"/>
              <a:gd name="connsiteY32" fmla="*/ 491599 h 955271"/>
              <a:gd name="connsiteX33" fmla="*/ 2085507 w 5741575"/>
              <a:gd name="connsiteY33" fmla="*/ 498527 h 955271"/>
              <a:gd name="connsiteX34" fmla="*/ 2090767 w 5741575"/>
              <a:gd name="connsiteY34" fmla="*/ 490616 h 955271"/>
              <a:gd name="connsiteX35" fmla="*/ 2151143 w 5741575"/>
              <a:gd name="connsiteY35" fmla="*/ 478332 h 955271"/>
              <a:gd name="connsiteX36" fmla="*/ 2378710 w 5741575"/>
              <a:gd name="connsiteY36" fmla="*/ 477570 h 955271"/>
              <a:gd name="connsiteX37" fmla="*/ 2496256 w 5741575"/>
              <a:gd name="connsiteY37" fmla="*/ 452396 h 955271"/>
              <a:gd name="connsiteX38" fmla="*/ 2535387 w 5741575"/>
              <a:gd name="connsiteY38" fmla="*/ 436645 h 955271"/>
              <a:gd name="connsiteX39" fmla="*/ 2601109 w 5741575"/>
              <a:gd name="connsiteY39" fmla="*/ 410678 h 955271"/>
              <a:gd name="connsiteX40" fmla="*/ 2643855 w 5741575"/>
              <a:gd name="connsiteY40" fmla="*/ 374482 h 955271"/>
              <a:gd name="connsiteX41" fmla="*/ 2657726 w 5741575"/>
              <a:gd name="connsiteY41" fmla="*/ 365841 h 955271"/>
              <a:gd name="connsiteX42" fmla="*/ 2687125 w 5741575"/>
              <a:gd name="connsiteY42" fmla="*/ 366820 h 955271"/>
              <a:gd name="connsiteX43" fmla="*/ 2697479 w 5741575"/>
              <a:gd name="connsiteY43" fmla="*/ 361430 h 955271"/>
              <a:gd name="connsiteX44" fmla="*/ 2701547 w 5741575"/>
              <a:gd name="connsiteY44" fmla="*/ 361545 h 955271"/>
              <a:gd name="connsiteX45" fmla="*/ 2711054 w 5741575"/>
              <a:gd name="connsiteY45" fmla="*/ 360597 h 955271"/>
              <a:gd name="connsiteX46" fmla="*/ 2777227 w 5741575"/>
              <a:gd name="connsiteY46" fmla="*/ 368972 h 955271"/>
              <a:gd name="connsiteX47" fmla="*/ 2824768 w 5741575"/>
              <a:gd name="connsiteY47" fmla="*/ 361652 h 955271"/>
              <a:gd name="connsiteX48" fmla="*/ 2885545 w 5741575"/>
              <a:gd name="connsiteY48" fmla="*/ 372818 h 955271"/>
              <a:gd name="connsiteX49" fmla="*/ 3009558 w 5741575"/>
              <a:gd name="connsiteY49" fmla="*/ 370573 h 955271"/>
              <a:gd name="connsiteX50" fmla="*/ 3095010 w 5741575"/>
              <a:gd name="connsiteY50" fmla="*/ 332454 h 955271"/>
              <a:gd name="connsiteX51" fmla="*/ 3103742 w 5741575"/>
              <a:gd name="connsiteY51" fmla="*/ 337974 h 955271"/>
              <a:gd name="connsiteX52" fmla="*/ 3165093 w 5741575"/>
              <a:gd name="connsiteY52" fmla="*/ 329459 h 955271"/>
              <a:gd name="connsiteX53" fmla="*/ 3373785 w 5741575"/>
              <a:gd name="connsiteY53" fmla="*/ 255680 h 955271"/>
              <a:gd name="connsiteX54" fmla="*/ 3493851 w 5741575"/>
              <a:gd name="connsiteY54" fmla="*/ 240255 h 955271"/>
              <a:gd name="connsiteX55" fmla="*/ 3537470 w 5741575"/>
              <a:gd name="connsiteY55" fmla="*/ 241867 h 955271"/>
              <a:gd name="connsiteX56" fmla="*/ 3610489 w 5741575"/>
              <a:gd name="connsiteY56" fmla="*/ 244128 h 955271"/>
              <a:gd name="connsiteX57" fmla="*/ 3667539 w 5741575"/>
              <a:gd name="connsiteY57" fmla="*/ 263271 h 955271"/>
              <a:gd name="connsiteX58" fmla="*/ 3727614 w 5741575"/>
              <a:gd name="connsiteY58" fmla="*/ 258245 h 955271"/>
              <a:gd name="connsiteX59" fmla="*/ 3738369 w 5741575"/>
              <a:gd name="connsiteY59" fmla="*/ 234506 h 955271"/>
              <a:gd name="connsiteX60" fmla="*/ 3803670 w 5741575"/>
              <a:gd name="connsiteY60" fmla="*/ 236457 h 955271"/>
              <a:gd name="connsiteX61" fmla="*/ 3903080 w 5741575"/>
              <a:gd name="connsiteY61" fmla="*/ 241890 h 955271"/>
              <a:gd name="connsiteX62" fmla="*/ 4114838 w 5741575"/>
              <a:gd name="connsiteY62" fmla="*/ 238165 h 955271"/>
              <a:gd name="connsiteX63" fmla="*/ 4271023 w 5741575"/>
              <a:gd name="connsiteY63" fmla="*/ 241959 h 955271"/>
              <a:gd name="connsiteX64" fmla="*/ 4367397 w 5741575"/>
              <a:gd name="connsiteY64" fmla="*/ 271442 h 955271"/>
              <a:gd name="connsiteX65" fmla="*/ 4495366 w 5741575"/>
              <a:gd name="connsiteY65" fmla="*/ 271618 h 955271"/>
              <a:gd name="connsiteX66" fmla="*/ 4517347 w 5741575"/>
              <a:gd name="connsiteY66" fmla="*/ 275639 h 955271"/>
              <a:gd name="connsiteX67" fmla="*/ 4546116 w 5741575"/>
              <a:gd name="connsiteY67" fmla="*/ 268568 h 955271"/>
              <a:gd name="connsiteX68" fmla="*/ 4661259 w 5741575"/>
              <a:gd name="connsiteY68" fmla="*/ 238966 h 955271"/>
              <a:gd name="connsiteX69" fmla="*/ 4750403 w 5741575"/>
              <a:gd name="connsiteY69" fmla="*/ 204364 h 955271"/>
              <a:gd name="connsiteX70" fmla="*/ 4867614 w 5741575"/>
              <a:gd name="connsiteY70" fmla="*/ 208668 h 955271"/>
              <a:gd name="connsiteX71" fmla="*/ 4937036 w 5741575"/>
              <a:gd name="connsiteY71" fmla="*/ 195446 h 955271"/>
              <a:gd name="connsiteX72" fmla="*/ 5047626 w 5741575"/>
              <a:gd name="connsiteY72" fmla="*/ 149604 h 955271"/>
              <a:gd name="connsiteX73" fmla="*/ 5200247 w 5741575"/>
              <a:gd name="connsiteY73" fmla="*/ 142695 h 955271"/>
              <a:gd name="connsiteX74" fmla="*/ 5235691 w 5741575"/>
              <a:gd name="connsiteY74" fmla="*/ 173330 h 955271"/>
              <a:gd name="connsiteX75" fmla="*/ 5280133 w 5741575"/>
              <a:gd name="connsiteY75" fmla="*/ 189342 h 955271"/>
              <a:gd name="connsiteX76" fmla="*/ 5291963 w 5741575"/>
              <a:gd name="connsiteY76" fmla="*/ 139446 h 955271"/>
              <a:gd name="connsiteX77" fmla="*/ 5418472 w 5741575"/>
              <a:gd name="connsiteY77" fmla="*/ 89163 h 955271"/>
              <a:gd name="connsiteX78" fmla="*/ 5482354 w 5741575"/>
              <a:gd name="connsiteY78" fmla="*/ 69470 h 955271"/>
              <a:gd name="connsiteX79" fmla="*/ 5583280 w 5741575"/>
              <a:gd name="connsiteY79" fmla="*/ 49787 h 955271"/>
              <a:gd name="connsiteX80" fmla="*/ 5613766 w 5741575"/>
              <a:gd name="connsiteY80" fmla="*/ 41855 h 955271"/>
              <a:gd name="connsiteX81" fmla="*/ 5684952 w 5741575"/>
              <a:gd name="connsiteY81" fmla="*/ 26088 h 955271"/>
              <a:gd name="connsiteX82" fmla="*/ 5741575 w 5741575"/>
              <a:gd name="connsiteY82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6314 w 5741575"/>
              <a:gd name="connsiteY22" fmla="*/ 722473 h 955271"/>
              <a:gd name="connsiteX23" fmla="*/ 1278773 w 5741575"/>
              <a:gd name="connsiteY23" fmla="*/ 711503 h 955271"/>
              <a:gd name="connsiteX24" fmla="*/ 1317691 w 5741575"/>
              <a:gd name="connsiteY24" fmla="*/ 708529 h 955271"/>
              <a:gd name="connsiteX25" fmla="*/ 1360404 w 5741575"/>
              <a:gd name="connsiteY25" fmla="*/ 675922 h 955271"/>
              <a:gd name="connsiteX26" fmla="*/ 1412292 w 5741575"/>
              <a:gd name="connsiteY26" fmla="*/ 670793 h 955271"/>
              <a:gd name="connsiteX27" fmla="*/ 1494753 w 5741575"/>
              <a:gd name="connsiteY27" fmla="*/ 644686 h 955271"/>
              <a:gd name="connsiteX28" fmla="*/ 1616217 w 5741575"/>
              <a:gd name="connsiteY28" fmla="*/ 622107 h 955271"/>
              <a:gd name="connsiteX29" fmla="*/ 1710928 w 5741575"/>
              <a:gd name="connsiteY29" fmla="*/ 600666 h 955271"/>
              <a:gd name="connsiteX30" fmla="*/ 1743718 w 5741575"/>
              <a:gd name="connsiteY30" fmla="*/ 584327 h 955271"/>
              <a:gd name="connsiteX31" fmla="*/ 1873778 w 5741575"/>
              <a:gd name="connsiteY31" fmla="*/ 530130 h 955271"/>
              <a:gd name="connsiteX32" fmla="*/ 1988411 w 5741575"/>
              <a:gd name="connsiteY32" fmla="*/ 491599 h 955271"/>
              <a:gd name="connsiteX33" fmla="*/ 2085507 w 5741575"/>
              <a:gd name="connsiteY33" fmla="*/ 498527 h 955271"/>
              <a:gd name="connsiteX34" fmla="*/ 2090767 w 5741575"/>
              <a:gd name="connsiteY34" fmla="*/ 490616 h 955271"/>
              <a:gd name="connsiteX35" fmla="*/ 2151143 w 5741575"/>
              <a:gd name="connsiteY35" fmla="*/ 478332 h 955271"/>
              <a:gd name="connsiteX36" fmla="*/ 2378710 w 5741575"/>
              <a:gd name="connsiteY36" fmla="*/ 477570 h 955271"/>
              <a:gd name="connsiteX37" fmla="*/ 2496256 w 5741575"/>
              <a:gd name="connsiteY37" fmla="*/ 452396 h 955271"/>
              <a:gd name="connsiteX38" fmla="*/ 2535387 w 5741575"/>
              <a:gd name="connsiteY38" fmla="*/ 436645 h 955271"/>
              <a:gd name="connsiteX39" fmla="*/ 2601109 w 5741575"/>
              <a:gd name="connsiteY39" fmla="*/ 410678 h 955271"/>
              <a:gd name="connsiteX40" fmla="*/ 2643855 w 5741575"/>
              <a:gd name="connsiteY40" fmla="*/ 374482 h 955271"/>
              <a:gd name="connsiteX41" fmla="*/ 2657726 w 5741575"/>
              <a:gd name="connsiteY41" fmla="*/ 365841 h 955271"/>
              <a:gd name="connsiteX42" fmla="*/ 2687125 w 5741575"/>
              <a:gd name="connsiteY42" fmla="*/ 366820 h 955271"/>
              <a:gd name="connsiteX43" fmla="*/ 2697479 w 5741575"/>
              <a:gd name="connsiteY43" fmla="*/ 361430 h 955271"/>
              <a:gd name="connsiteX44" fmla="*/ 2701547 w 5741575"/>
              <a:gd name="connsiteY44" fmla="*/ 361545 h 955271"/>
              <a:gd name="connsiteX45" fmla="*/ 2777227 w 5741575"/>
              <a:gd name="connsiteY45" fmla="*/ 368972 h 955271"/>
              <a:gd name="connsiteX46" fmla="*/ 2824768 w 5741575"/>
              <a:gd name="connsiteY46" fmla="*/ 361652 h 955271"/>
              <a:gd name="connsiteX47" fmla="*/ 2885545 w 5741575"/>
              <a:gd name="connsiteY47" fmla="*/ 372818 h 955271"/>
              <a:gd name="connsiteX48" fmla="*/ 3009558 w 5741575"/>
              <a:gd name="connsiteY48" fmla="*/ 370573 h 955271"/>
              <a:gd name="connsiteX49" fmla="*/ 3095010 w 5741575"/>
              <a:gd name="connsiteY49" fmla="*/ 332454 h 955271"/>
              <a:gd name="connsiteX50" fmla="*/ 3103742 w 5741575"/>
              <a:gd name="connsiteY50" fmla="*/ 337974 h 955271"/>
              <a:gd name="connsiteX51" fmla="*/ 3165093 w 5741575"/>
              <a:gd name="connsiteY51" fmla="*/ 329459 h 955271"/>
              <a:gd name="connsiteX52" fmla="*/ 3373785 w 5741575"/>
              <a:gd name="connsiteY52" fmla="*/ 255680 h 955271"/>
              <a:gd name="connsiteX53" fmla="*/ 3493851 w 5741575"/>
              <a:gd name="connsiteY53" fmla="*/ 240255 h 955271"/>
              <a:gd name="connsiteX54" fmla="*/ 3537470 w 5741575"/>
              <a:gd name="connsiteY54" fmla="*/ 241867 h 955271"/>
              <a:gd name="connsiteX55" fmla="*/ 3610489 w 5741575"/>
              <a:gd name="connsiteY55" fmla="*/ 244128 h 955271"/>
              <a:gd name="connsiteX56" fmla="*/ 3667539 w 5741575"/>
              <a:gd name="connsiteY56" fmla="*/ 263271 h 955271"/>
              <a:gd name="connsiteX57" fmla="*/ 3727614 w 5741575"/>
              <a:gd name="connsiteY57" fmla="*/ 258245 h 955271"/>
              <a:gd name="connsiteX58" fmla="*/ 3738369 w 5741575"/>
              <a:gd name="connsiteY58" fmla="*/ 234506 h 955271"/>
              <a:gd name="connsiteX59" fmla="*/ 3803670 w 5741575"/>
              <a:gd name="connsiteY59" fmla="*/ 236457 h 955271"/>
              <a:gd name="connsiteX60" fmla="*/ 3903080 w 5741575"/>
              <a:gd name="connsiteY60" fmla="*/ 241890 h 955271"/>
              <a:gd name="connsiteX61" fmla="*/ 4114838 w 5741575"/>
              <a:gd name="connsiteY61" fmla="*/ 238165 h 955271"/>
              <a:gd name="connsiteX62" fmla="*/ 4271023 w 5741575"/>
              <a:gd name="connsiteY62" fmla="*/ 241959 h 955271"/>
              <a:gd name="connsiteX63" fmla="*/ 4367397 w 5741575"/>
              <a:gd name="connsiteY63" fmla="*/ 271442 h 955271"/>
              <a:gd name="connsiteX64" fmla="*/ 4495366 w 5741575"/>
              <a:gd name="connsiteY64" fmla="*/ 271618 h 955271"/>
              <a:gd name="connsiteX65" fmla="*/ 4517347 w 5741575"/>
              <a:gd name="connsiteY65" fmla="*/ 275639 h 955271"/>
              <a:gd name="connsiteX66" fmla="*/ 4546116 w 5741575"/>
              <a:gd name="connsiteY66" fmla="*/ 268568 h 955271"/>
              <a:gd name="connsiteX67" fmla="*/ 4661259 w 5741575"/>
              <a:gd name="connsiteY67" fmla="*/ 238966 h 955271"/>
              <a:gd name="connsiteX68" fmla="*/ 4750403 w 5741575"/>
              <a:gd name="connsiteY68" fmla="*/ 204364 h 955271"/>
              <a:gd name="connsiteX69" fmla="*/ 4867614 w 5741575"/>
              <a:gd name="connsiteY69" fmla="*/ 208668 h 955271"/>
              <a:gd name="connsiteX70" fmla="*/ 4937036 w 5741575"/>
              <a:gd name="connsiteY70" fmla="*/ 195446 h 955271"/>
              <a:gd name="connsiteX71" fmla="*/ 5047626 w 5741575"/>
              <a:gd name="connsiteY71" fmla="*/ 149604 h 955271"/>
              <a:gd name="connsiteX72" fmla="*/ 5200247 w 5741575"/>
              <a:gd name="connsiteY72" fmla="*/ 142695 h 955271"/>
              <a:gd name="connsiteX73" fmla="*/ 5235691 w 5741575"/>
              <a:gd name="connsiteY73" fmla="*/ 173330 h 955271"/>
              <a:gd name="connsiteX74" fmla="*/ 5280133 w 5741575"/>
              <a:gd name="connsiteY74" fmla="*/ 189342 h 955271"/>
              <a:gd name="connsiteX75" fmla="*/ 5291963 w 5741575"/>
              <a:gd name="connsiteY75" fmla="*/ 139446 h 955271"/>
              <a:gd name="connsiteX76" fmla="*/ 5418472 w 5741575"/>
              <a:gd name="connsiteY76" fmla="*/ 89163 h 955271"/>
              <a:gd name="connsiteX77" fmla="*/ 5482354 w 5741575"/>
              <a:gd name="connsiteY77" fmla="*/ 69470 h 955271"/>
              <a:gd name="connsiteX78" fmla="*/ 5583280 w 5741575"/>
              <a:gd name="connsiteY78" fmla="*/ 49787 h 955271"/>
              <a:gd name="connsiteX79" fmla="*/ 5613766 w 5741575"/>
              <a:gd name="connsiteY79" fmla="*/ 41855 h 955271"/>
              <a:gd name="connsiteX80" fmla="*/ 5684952 w 5741575"/>
              <a:gd name="connsiteY80" fmla="*/ 26088 h 955271"/>
              <a:gd name="connsiteX81" fmla="*/ 5741575 w 5741575"/>
              <a:gd name="connsiteY81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6314 w 5741575"/>
              <a:gd name="connsiteY22" fmla="*/ 722473 h 955271"/>
              <a:gd name="connsiteX23" fmla="*/ 1278773 w 5741575"/>
              <a:gd name="connsiteY23" fmla="*/ 711503 h 955271"/>
              <a:gd name="connsiteX24" fmla="*/ 1317691 w 5741575"/>
              <a:gd name="connsiteY24" fmla="*/ 708529 h 955271"/>
              <a:gd name="connsiteX25" fmla="*/ 1360404 w 5741575"/>
              <a:gd name="connsiteY25" fmla="*/ 675922 h 955271"/>
              <a:gd name="connsiteX26" fmla="*/ 1412292 w 5741575"/>
              <a:gd name="connsiteY26" fmla="*/ 670793 h 955271"/>
              <a:gd name="connsiteX27" fmla="*/ 1494753 w 5741575"/>
              <a:gd name="connsiteY27" fmla="*/ 644686 h 955271"/>
              <a:gd name="connsiteX28" fmla="*/ 1616217 w 5741575"/>
              <a:gd name="connsiteY28" fmla="*/ 622107 h 955271"/>
              <a:gd name="connsiteX29" fmla="*/ 1710928 w 5741575"/>
              <a:gd name="connsiteY29" fmla="*/ 600666 h 955271"/>
              <a:gd name="connsiteX30" fmla="*/ 1743718 w 5741575"/>
              <a:gd name="connsiteY30" fmla="*/ 584327 h 955271"/>
              <a:gd name="connsiteX31" fmla="*/ 1873778 w 5741575"/>
              <a:gd name="connsiteY31" fmla="*/ 530130 h 955271"/>
              <a:gd name="connsiteX32" fmla="*/ 1988411 w 5741575"/>
              <a:gd name="connsiteY32" fmla="*/ 491599 h 955271"/>
              <a:gd name="connsiteX33" fmla="*/ 2085507 w 5741575"/>
              <a:gd name="connsiteY33" fmla="*/ 498527 h 955271"/>
              <a:gd name="connsiteX34" fmla="*/ 2090767 w 5741575"/>
              <a:gd name="connsiteY34" fmla="*/ 490616 h 955271"/>
              <a:gd name="connsiteX35" fmla="*/ 2151143 w 5741575"/>
              <a:gd name="connsiteY35" fmla="*/ 478332 h 955271"/>
              <a:gd name="connsiteX36" fmla="*/ 2378710 w 5741575"/>
              <a:gd name="connsiteY36" fmla="*/ 477570 h 955271"/>
              <a:gd name="connsiteX37" fmla="*/ 2496256 w 5741575"/>
              <a:gd name="connsiteY37" fmla="*/ 452396 h 955271"/>
              <a:gd name="connsiteX38" fmla="*/ 2535387 w 5741575"/>
              <a:gd name="connsiteY38" fmla="*/ 436645 h 955271"/>
              <a:gd name="connsiteX39" fmla="*/ 2601109 w 5741575"/>
              <a:gd name="connsiteY39" fmla="*/ 410678 h 955271"/>
              <a:gd name="connsiteX40" fmla="*/ 2643855 w 5741575"/>
              <a:gd name="connsiteY40" fmla="*/ 374482 h 955271"/>
              <a:gd name="connsiteX41" fmla="*/ 2657726 w 5741575"/>
              <a:gd name="connsiteY41" fmla="*/ 365841 h 955271"/>
              <a:gd name="connsiteX42" fmla="*/ 2687125 w 5741575"/>
              <a:gd name="connsiteY42" fmla="*/ 366820 h 955271"/>
              <a:gd name="connsiteX43" fmla="*/ 2697479 w 5741575"/>
              <a:gd name="connsiteY43" fmla="*/ 361430 h 955271"/>
              <a:gd name="connsiteX44" fmla="*/ 2731718 w 5741575"/>
              <a:gd name="connsiteY44" fmla="*/ 361545 h 955271"/>
              <a:gd name="connsiteX45" fmla="*/ 2777227 w 5741575"/>
              <a:gd name="connsiteY45" fmla="*/ 368972 h 955271"/>
              <a:gd name="connsiteX46" fmla="*/ 2824768 w 5741575"/>
              <a:gd name="connsiteY46" fmla="*/ 361652 h 955271"/>
              <a:gd name="connsiteX47" fmla="*/ 2885545 w 5741575"/>
              <a:gd name="connsiteY47" fmla="*/ 372818 h 955271"/>
              <a:gd name="connsiteX48" fmla="*/ 3009558 w 5741575"/>
              <a:gd name="connsiteY48" fmla="*/ 370573 h 955271"/>
              <a:gd name="connsiteX49" fmla="*/ 3095010 w 5741575"/>
              <a:gd name="connsiteY49" fmla="*/ 332454 h 955271"/>
              <a:gd name="connsiteX50" fmla="*/ 3103742 w 5741575"/>
              <a:gd name="connsiteY50" fmla="*/ 337974 h 955271"/>
              <a:gd name="connsiteX51" fmla="*/ 3165093 w 5741575"/>
              <a:gd name="connsiteY51" fmla="*/ 329459 h 955271"/>
              <a:gd name="connsiteX52" fmla="*/ 3373785 w 5741575"/>
              <a:gd name="connsiteY52" fmla="*/ 255680 h 955271"/>
              <a:gd name="connsiteX53" fmla="*/ 3493851 w 5741575"/>
              <a:gd name="connsiteY53" fmla="*/ 240255 h 955271"/>
              <a:gd name="connsiteX54" fmla="*/ 3537470 w 5741575"/>
              <a:gd name="connsiteY54" fmla="*/ 241867 h 955271"/>
              <a:gd name="connsiteX55" fmla="*/ 3610489 w 5741575"/>
              <a:gd name="connsiteY55" fmla="*/ 244128 h 955271"/>
              <a:gd name="connsiteX56" fmla="*/ 3667539 w 5741575"/>
              <a:gd name="connsiteY56" fmla="*/ 263271 h 955271"/>
              <a:gd name="connsiteX57" fmla="*/ 3727614 w 5741575"/>
              <a:gd name="connsiteY57" fmla="*/ 258245 h 955271"/>
              <a:gd name="connsiteX58" fmla="*/ 3738369 w 5741575"/>
              <a:gd name="connsiteY58" fmla="*/ 234506 h 955271"/>
              <a:gd name="connsiteX59" fmla="*/ 3803670 w 5741575"/>
              <a:gd name="connsiteY59" fmla="*/ 236457 h 955271"/>
              <a:gd name="connsiteX60" fmla="*/ 3903080 w 5741575"/>
              <a:gd name="connsiteY60" fmla="*/ 241890 h 955271"/>
              <a:gd name="connsiteX61" fmla="*/ 4114838 w 5741575"/>
              <a:gd name="connsiteY61" fmla="*/ 238165 h 955271"/>
              <a:gd name="connsiteX62" fmla="*/ 4271023 w 5741575"/>
              <a:gd name="connsiteY62" fmla="*/ 241959 h 955271"/>
              <a:gd name="connsiteX63" fmla="*/ 4367397 w 5741575"/>
              <a:gd name="connsiteY63" fmla="*/ 271442 h 955271"/>
              <a:gd name="connsiteX64" fmla="*/ 4495366 w 5741575"/>
              <a:gd name="connsiteY64" fmla="*/ 271618 h 955271"/>
              <a:gd name="connsiteX65" fmla="*/ 4517347 w 5741575"/>
              <a:gd name="connsiteY65" fmla="*/ 275639 h 955271"/>
              <a:gd name="connsiteX66" fmla="*/ 4546116 w 5741575"/>
              <a:gd name="connsiteY66" fmla="*/ 268568 h 955271"/>
              <a:gd name="connsiteX67" fmla="*/ 4661259 w 5741575"/>
              <a:gd name="connsiteY67" fmla="*/ 238966 h 955271"/>
              <a:gd name="connsiteX68" fmla="*/ 4750403 w 5741575"/>
              <a:gd name="connsiteY68" fmla="*/ 204364 h 955271"/>
              <a:gd name="connsiteX69" fmla="*/ 4867614 w 5741575"/>
              <a:gd name="connsiteY69" fmla="*/ 208668 h 955271"/>
              <a:gd name="connsiteX70" fmla="*/ 4937036 w 5741575"/>
              <a:gd name="connsiteY70" fmla="*/ 195446 h 955271"/>
              <a:gd name="connsiteX71" fmla="*/ 5047626 w 5741575"/>
              <a:gd name="connsiteY71" fmla="*/ 149604 h 955271"/>
              <a:gd name="connsiteX72" fmla="*/ 5200247 w 5741575"/>
              <a:gd name="connsiteY72" fmla="*/ 142695 h 955271"/>
              <a:gd name="connsiteX73" fmla="*/ 5235691 w 5741575"/>
              <a:gd name="connsiteY73" fmla="*/ 173330 h 955271"/>
              <a:gd name="connsiteX74" fmla="*/ 5280133 w 5741575"/>
              <a:gd name="connsiteY74" fmla="*/ 189342 h 955271"/>
              <a:gd name="connsiteX75" fmla="*/ 5291963 w 5741575"/>
              <a:gd name="connsiteY75" fmla="*/ 139446 h 955271"/>
              <a:gd name="connsiteX76" fmla="*/ 5418472 w 5741575"/>
              <a:gd name="connsiteY76" fmla="*/ 89163 h 955271"/>
              <a:gd name="connsiteX77" fmla="*/ 5482354 w 5741575"/>
              <a:gd name="connsiteY77" fmla="*/ 69470 h 955271"/>
              <a:gd name="connsiteX78" fmla="*/ 5583280 w 5741575"/>
              <a:gd name="connsiteY78" fmla="*/ 49787 h 955271"/>
              <a:gd name="connsiteX79" fmla="*/ 5613766 w 5741575"/>
              <a:gd name="connsiteY79" fmla="*/ 41855 h 955271"/>
              <a:gd name="connsiteX80" fmla="*/ 5684952 w 5741575"/>
              <a:gd name="connsiteY80" fmla="*/ 26088 h 955271"/>
              <a:gd name="connsiteX81" fmla="*/ 5741575 w 5741575"/>
              <a:gd name="connsiteY81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6314 w 5741575"/>
              <a:gd name="connsiteY22" fmla="*/ 722473 h 955271"/>
              <a:gd name="connsiteX23" fmla="*/ 1278773 w 5741575"/>
              <a:gd name="connsiteY23" fmla="*/ 711503 h 955271"/>
              <a:gd name="connsiteX24" fmla="*/ 1317691 w 5741575"/>
              <a:gd name="connsiteY24" fmla="*/ 708529 h 955271"/>
              <a:gd name="connsiteX25" fmla="*/ 1360404 w 5741575"/>
              <a:gd name="connsiteY25" fmla="*/ 675922 h 955271"/>
              <a:gd name="connsiteX26" fmla="*/ 1412292 w 5741575"/>
              <a:gd name="connsiteY26" fmla="*/ 670793 h 955271"/>
              <a:gd name="connsiteX27" fmla="*/ 1494753 w 5741575"/>
              <a:gd name="connsiteY27" fmla="*/ 644686 h 955271"/>
              <a:gd name="connsiteX28" fmla="*/ 1616217 w 5741575"/>
              <a:gd name="connsiteY28" fmla="*/ 622107 h 955271"/>
              <a:gd name="connsiteX29" fmla="*/ 1710928 w 5741575"/>
              <a:gd name="connsiteY29" fmla="*/ 600666 h 955271"/>
              <a:gd name="connsiteX30" fmla="*/ 1743718 w 5741575"/>
              <a:gd name="connsiteY30" fmla="*/ 584327 h 955271"/>
              <a:gd name="connsiteX31" fmla="*/ 1873778 w 5741575"/>
              <a:gd name="connsiteY31" fmla="*/ 530130 h 955271"/>
              <a:gd name="connsiteX32" fmla="*/ 1988411 w 5741575"/>
              <a:gd name="connsiteY32" fmla="*/ 491599 h 955271"/>
              <a:gd name="connsiteX33" fmla="*/ 2085507 w 5741575"/>
              <a:gd name="connsiteY33" fmla="*/ 498527 h 955271"/>
              <a:gd name="connsiteX34" fmla="*/ 2090767 w 5741575"/>
              <a:gd name="connsiteY34" fmla="*/ 490616 h 955271"/>
              <a:gd name="connsiteX35" fmla="*/ 2151143 w 5741575"/>
              <a:gd name="connsiteY35" fmla="*/ 478332 h 955271"/>
              <a:gd name="connsiteX36" fmla="*/ 2378710 w 5741575"/>
              <a:gd name="connsiteY36" fmla="*/ 477570 h 955271"/>
              <a:gd name="connsiteX37" fmla="*/ 2496256 w 5741575"/>
              <a:gd name="connsiteY37" fmla="*/ 452396 h 955271"/>
              <a:gd name="connsiteX38" fmla="*/ 2535387 w 5741575"/>
              <a:gd name="connsiteY38" fmla="*/ 436645 h 955271"/>
              <a:gd name="connsiteX39" fmla="*/ 2601109 w 5741575"/>
              <a:gd name="connsiteY39" fmla="*/ 410678 h 955271"/>
              <a:gd name="connsiteX40" fmla="*/ 2643855 w 5741575"/>
              <a:gd name="connsiteY40" fmla="*/ 374482 h 955271"/>
              <a:gd name="connsiteX41" fmla="*/ 2657726 w 5741575"/>
              <a:gd name="connsiteY41" fmla="*/ 365841 h 955271"/>
              <a:gd name="connsiteX42" fmla="*/ 2687125 w 5741575"/>
              <a:gd name="connsiteY42" fmla="*/ 366820 h 955271"/>
              <a:gd name="connsiteX43" fmla="*/ 2697479 w 5741575"/>
              <a:gd name="connsiteY43" fmla="*/ 361430 h 955271"/>
              <a:gd name="connsiteX44" fmla="*/ 2731718 w 5741575"/>
              <a:gd name="connsiteY44" fmla="*/ 361545 h 955271"/>
              <a:gd name="connsiteX45" fmla="*/ 2777227 w 5741575"/>
              <a:gd name="connsiteY45" fmla="*/ 368972 h 955271"/>
              <a:gd name="connsiteX46" fmla="*/ 2824768 w 5741575"/>
              <a:gd name="connsiteY46" fmla="*/ 361652 h 955271"/>
              <a:gd name="connsiteX47" fmla="*/ 2885545 w 5741575"/>
              <a:gd name="connsiteY47" fmla="*/ 372818 h 955271"/>
              <a:gd name="connsiteX48" fmla="*/ 3009558 w 5741575"/>
              <a:gd name="connsiteY48" fmla="*/ 370573 h 955271"/>
              <a:gd name="connsiteX49" fmla="*/ 3095010 w 5741575"/>
              <a:gd name="connsiteY49" fmla="*/ 332454 h 955271"/>
              <a:gd name="connsiteX50" fmla="*/ 3103742 w 5741575"/>
              <a:gd name="connsiteY50" fmla="*/ 337974 h 955271"/>
              <a:gd name="connsiteX51" fmla="*/ 3165093 w 5741575"/>
              <a:gd name="connsiteY51" fmla="*/ 329459 h 955271"/>
              <a:gd name="connsiteX52" fmla="*/ 3373785 w 5741575"/>
              <a:gd name="connsiteY52" fmla="*/ 255680 h 955271"/>
              <a:gd name="connsiteX53" fmla="*/ 3493851 w 5741575"/>
              <a:gd name="connsiteY53" fmla="*/ 240255 h 955271"/>
              <a:gd name="connsiteX54" fmla="*/ 3537470 w 5741575"/>
              <a:gd name="connsiteY54" fmla="*/ 241867 h 955271"/>
              <a:gd name="connsiteX55" fmla="*/ 3610489 w 5741575"/>
              <a:gd name="connsiteY55" fmla="*/ 244128 h 955271"/>
              <a:gd name="connsiteX56" fmla="*/ 3667539 w 5741575"/>
              <a:gd name="connsiteY56" fmla="*/ 263271 h 955271"/>
              <a:gd name="connsiteX57" fmla="*/ 3727614 w 5741575"/>
              <a:gd name="connsiteY57" fmla="*/ 258245 h 955271"/>
              <a:gd name="connsiteX58" fmla="*/ 3738369 w 5741575"/>
              <a:gd name="connsiteY58" fmla="*/ 234506 h 955271"/>
              <a:gd name="connsiteX59" fmla="*/ 3803670 w 5741575"/>
              <a:gd name="connsiteY59" fmla="*/ 236457 h 955271"/>
              <a:gd name="connsiteX60" fmla="*/ 3903080 w 5741575"/>
              <a:gd name="connsiteY60" fmla="*/ 241890 h 955271"/>
              <a:gd name="connsiteX61" fmla="*/ 4114838 w 5741575"/>
              <a:gd name="connsiteY61" fmla="*/ 238165 h 955271"/>
              <a:gd name="connsiteX62" fmla="*/ 4271023 w 5741575"/>
              <a:gd name="connsiteY62" fmla="*/ 241959 h 955271"/>
              <a:gd name="connsiteX63" fmla="*/ 4367397 w 5741575"/>
              <a:gd name="connsiteY63" fmla="*/ 271442 h 955271"/>
              <a:gd name="connsiteX64" fmla="*/ 4495366 w 5741575"/>
              <a:gd name="connsiteY64" fmla="*/ 271618 h 955271"/>
              <a:gd name="connsiteX65" fmla="*/ 4517347 w 5741575"/>
              <a:gd name="connsiteY65" fmla="*/ 275639 h 955271"/>
              <a:gd name="connsiteX66" fmla="*/ 4546116 w 5741575"/>
              <a:gd name="connsiteY66" fmla="*/ 268568 h 955271"/>
              <a:gd name="connsiteX67" fmla="*/ 4661259 w 5741575"/>
              <a:gd name="connsiteY67" fmla="*/ 238966 h 955271"/>
              <a:gd name="connsiteX68" fmla="*/ 4750403 w 5741575"/>
              <a:gd name="connsiteY68" fmla="*/ 204364 h 955271"/>
              <a:gd name="connsiteX69" fmla="*/ 4867614 w 5741575"/>
              <a:gd name="connsiteY69" fmla="*/ 208668 h 955271"/>
              <a:gd name="connsiteX70" fmla="*/ 4937036 w 5741575"/>
              <a:gd name="connsiteY70" fmla="*/ 195446 h 955271"/>
              <a:gd name="connsiteX71" fmla="*/ 5047626 w 5741575"/>
              <a:gd name="connsiteY71" fmla="*/ 149604 h 955271"/>
              <a:gd name="connsiteX72" fmla="*/ 5200247 w 5741575"/>
              <a:gd name="connsiteY72" fmla="*/ 142695 h 955271"/>
              <a:gd name="connsiteX73" fmla="*/ 5235691 w 5741575"/>
              <a:gd name="connsiteY73" fmla="*/ 173330 h 955271"/>
              <a:gd name="connsiteX74" fmla="*/ 5291963 w 5741575"/>
              <a:gd name="connsiteY74" fmla="*/ 139446 h 955271"/>
              <a:gd name="connsiteX75" fmla="*/ 5418472 w 5741575"/>
              <a:gd name="connsiteY75" fmla="*/ 89163 h 955271"/>
              <a:gd name="connsiteX76" fmla="*/ 5482354 w 5741575"/>
              <a:gd name="connsiteY76" fmla="*/ 69470 h 955271"/>
              <a:gd name="connsiteX77" fmla="*/ 5583280 w 5741575"/>
              <a:gd name="connsiteY77" fmla="*/ 49787 h 955271"/>
              <a:gd name="connsiteX78" fmla="*/ 5613766 w 5741575"/>
              <a:gd name="connsiteY78" fmla="*/ 41855 h 955271"/>
              <a:gd name="connsiteX79" fmla="*/ 5684952 w 5741575"/>
              <a:gd name="connsiteY79" fmla="*/ 26088 h 955271"/>
              <a:gd name="connsiteX80" fmla="*/ 5741575 w 5741575"/>
              <a:gd name="connsiteY80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6314 w 5741575"/>
              <a:gd name="connsiteY22" fmla="*/ 722473 h 955271"/>
              <a:gd name="connsiteX23" fmla="*/ 1278773 w 5741575"/>
              <a:gd name="connsiteY23" fmla="*/ 711503 h 955271"/>
              <a:gd name="connsiteX24" fmla="*/ 1317691 w 5741575"/>
              <a:gd name="connsiteY24" fmla="*/ 708529 h 955271"/>
              <a:gd name="connsiteX25" fmla="*/ 1360404 w 5741575"/>
              <a:gd name="connsiteY25" fmla="*/ 675922 h 955271"/>
              <a:gd name="connsiteX26" fmla="*/ 1412292 w 5741575"/>
              <a:gd name="connsiteY26" fmla="*/ 670793 h 955271"/>
              <a:gd name="connsiteX27" fmla="*/ 1494753 w 5741575"/>
              <a:gd name="connsiteY27" fmla="*/ 644686 h 955271"/>
              <a:gd name="connsiteX28" fmla="*/ 1616217 w 5741575"/>
              <a:gd name="connsiteY28" fmla="*/ 622107 h 955271"/>
              <a:gd name="connsiteX29" fmla="*/ 1710928 w 5741575"/>
              <a:gd name="connsiteY29" fmla="*/ 600666 h 955271"/>
              <a:gd name="connsiteX30" fmla="*/ 1743718 w 5741575"/>
              <a:gd name="connsiteY30" fmla="*/ 584327 h 955271"/>
              <a:gd name="connsiteX31" fmla="*/ 1873778 w 5741575"/>
              <a:gd name="connsiteY31" fmla="*/ 530130 h 955271"/>
              <a:gd name="connsiteX32" fmla="*/ 1988411 w 5741575"/>
              <a:gd name="connsiteY32" fmla="*/ 491599 h 955271"/>
              <a:gd name="connsiteX33" fmla="*/ 2085507 w 5741575"/>
              <a:gd name="connsiteY33" fmla="*/ 498527 h 955271"/>
              <a:gd name="connsiteX34" fmla="*/ 2090767 w 5741575"/>
              <a:gd name="connsiteY34" fmla="*/ 490616 h 955271"/>
              <a:gd name="connsiteX35" fmla="*/ 2151143 w 5741575"/>
              <a:gd name="connsiteY35" fmla="*/ 478332 h 955271"/>
              <a:gd name="connsiteX36" fmla="*/ 2378710 w 5741575"/>
              <a:gd name="connsiteY36" fmla="*/ 477570 h 955271"/>
              <a:gd name="connsiteX37" fmla="*/ 2496256 w 5741575"/>
              <a:gd name="connsiteY37" fmla="*/ 452396 h 955271"/>
              <a:gd name="connsiteX38" fmla="*/ 2535387 w 5741575"/>
              <a:gd name="connsiteY38" fmla="*/ 436645 h 955271"/>
              <a:gd name="connsiteX39" fmla="*/ 2601109 w 5741575"/>
              <a:gd name="connsiteY39" fmla="*/ 410678 h 955271"/>
              <a:gd name="connsiteX40" fmla="*/ 2643855 w 5741575"/>
              <a:gd name="connsiteY40" fmla="*/ 374482 h 955271"/>
              <a:gd name="connsiteX41" fmla="*/ 2657726 w 5741575"/>
              <a:gd name="connsiteY41" fmla="*/ 365841 h 955271"/>
              <a:gd name="connsiteX42" fmla="*/ 2687125 w 5741575"/>
              <a:gd name="connsiteY42" fmla="*/ 366820 h 955271"/>
              <a:gd name="connsiteX43" fmla="*/ 2697479 w 5741575"/>
              <a:gd name="connsiteY43" fmla="*/ 361430 h 955271"/>
              <a:gd name="connsiteX44" fmla="*/ 2731718 w 5741575"/>
              <a:gd name="connsiteY44" fmla="*/ 361545 h 955271"/>
              <a:gd name="connsiteX45" fmla="*/ 2777227 w 5741575"/>
              <a:gd name="connsiteY45" fmla="*/ 368972 h 955271"/>
              <a:gd name="connsiteX46" fmla="*/ 2824768 w 5741575"/>
              <a:gd name="connsiteY46" fmla="*/ 361652 h 955271"/>
              <a:gd name="connsiteX47" fmla="*/ 2885545 w 5741575"/>
              <a:gd name="connsiteY47" fmla="*/ 372818 h 955271"/>
              <a:gd name="connsiteX48" fmla="*/ 3009558 w 5741575"/>
              <a:gd name="connsiteY48" fmla="*/ 370573 h 955271"/>
              <a:gd name="connsiteX49" fmla="*/ 3095010 w 5741575"/>
              <a:gd name="connsiteY49" fmla="*/ 332454 h 955271"/>
              <a:gd name="connsiteX50" fmla="*/ 3103742 w 5741575"/>
              <a:gd name="connsiteY50" fmla="*/ 337974 h 955271"/>
              <a:gd name="connsiteX51" fmla="*/ 3165093 w 5741575"/>
              <a:gd name="connsiteY51" fmla="*/ 329459 h 955271"/>
              <a:gd name="connsiteX52" fmla="*/ 3373785 w 5741575"/>
              <a:gd name="connsiteY52" fmla="*/ 255680 h 955271"/>
              <a:gd name="connsiteX53" fmla="*/ 3493851 w 5741575"/>
              <a:gd name="connsiteY53" fmla="*/ 240255 h 955271"/>
              <a:gd name="connsiteX54" fmla="*/ 3537470 w 5741575"/>
              <a:gd name="connsiteY54" fmla="*/ 241867 h 955271"/>
              <a:gd name="connsiteX55" fmla="*/ 3610489 w 5741575"/>
              <a:gd name="connsiteY55" fmla="*/ 244128 h 955271"/>
              <a:gd name="connsiteX56" fmla="*/ 3667539 w 5741575"/>
              <a:gd name="connsiteY56" fmla="*/ 263271 h 955271"/>
              <a:gd name="connsiteX57" fmla="*/ 3727614 w 5741575"/>
              <a:gd name="connsiteY57" fmla="*/ 258245 h 955271"/>
              <a:gd name="connsiteX58" fmla="*/ 3738369 w 5741575"/>
              <a:gd name="connsiteY58" fmla="*/ 234506 h 955271"/>
              <a:gd name="connsiteX59" fmla="*/ 3803670 w 5741575"/>
              <a:gd name="connsiteY59" fmla="*/ 236457 h 955271"/>
              <a:gd name="connsiteX60" fmla="*/ 3903080 w 5741575"/>
              <a:gd name="connsiteY60" fmla="*/ 241890 h 955271"/>
              <a:gd name="connsiteX61" fmla="*/ 4114838 w 5741575"/>
              <a:gd name="connsiteY61" fmla="*/ 238165 h 955271"/>
              <a:gd name="connsiteX62" fmla="*/ 4271023 w 5741575"/>
              <a:gd name="connsiteY62" fmla="*/ 241959 h 955271"/>
              <a:gd name="connsiteX63" fmla="*/ 4367397 w 5741575"/>
              <a:gd name="connsiteY63" fmla="*/ 271442 h 955271"/>
              <a:gd name="connsiteX64" fmla="*/ 4495366 w 5741575"/>
              <a:gd name="connsiteY64" fmla="*/ 271618 h 955271"/>
              <a:gd name="connsiteX65" fmla="*/ 4517347 w 5741575"/>
              <a:gd name="connsiteY65" fmla="*/ 275639 h 955271"/>
              <a:gd name="connsiteX66" fmla="*/ 4546116 w 5741575"/>
              <a:gd name="connsiteY66" fmla="*/ 268568 h 955271"/>
              <a:gd name="connsiteX67" fmla="*/ 4661259 w 5741575"/>
              <a:gd name="connsiteY67" fmla="*/ 238966 h 955271"/>
              <a:gd name="connsiteX68" fmla="*/ 4750403 w 5741575"/>
              <a:gd name="connsiteY68" fmla="*/ 204364 h 955271"/>
              <a:gd name="connsiteX69" fmla="*/ 4867614 w 5741575"/>
              <a:gd name="connsiteY69" fmla="*/ 208668 h 955271"/>
              <a:gd name="connsiteX70" fmla="*/ 4937036 w 5741575"/>
              <a:gd name="connsiteY70" fmla="*/ 195446 h 955271"/>
              <a:gd name="connsiteX71" fmla="*/ 5047626 w 5741575"/>
              <a:gd name="connsiteY71" fmla="*/ 149604 h 955271"/>
              <a:gd name="connsiteX72" fmla="*/ 5200247 w 5741575"/>
              <a:gd name="connsiteY72" fmla="*/ 142695 h 955271"/>
              <a:gd name="connsiteX73" fmla="*/ 5291963 w 5741575"/>
              <a:gd name="connsiteY73" fmla="*/ 139446 h 955271"/>
              <a:gd name="connsiteX74" fmla="*/ 5418472 w 5741575"/>
              <a:gd name="connsiteY74" fmla="*/ 89163 h 955271"/>
              <a:gd name="connsiteX75" fmla="*/ 5482354 w 5741575"/>
              <a:gd name="connsiteY75" fmla="*/ 69470 h 955271"/>
              <a:gd name="connsiteX76" fmla="*/ 5583280 w 5741575"/>
              <a:gd name="connsiteY76" fmla="*/ 49787 h 955271"/>
              <a:gd name="connsiteX77" fmla="*/ 5613766 w 5741575"/>
              <a:gd name="connsiteY77" fmla="*/ 41855 h 955271"/>
              <a:gd name="connsiteX78" fmla="*/ 5684952 w 5741575"/>
              <a:gd name="connsiteY78" fmla="*/ 26088 h 955271"/>
              <a:gd name="connsiteX79" fmla="*/ 5741575 w 5741575"/>
              <a:gd name="connsiteY79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6314 w 5741575"/>
              <a:gd name="connsiteY22" fmla="*/ 722473 h 955271"/>
              <a:gd name="connsiteX23" fmla="*/ 1278773 w 5741575"/>
              <a:gd name="connsiteY23" fmla="*/ 711503 h 955271"/>
              <a:gd name="connsiteX24" fmla="*/ 1317691 w 5741575"/>
              <a:gd name="connsiteY24" fmla="*/ 708529 h 955271"/>
              <a:gd name="connsiteX25" fmla="*/ 1360404 w 5741575"/>
              <a:gd name="connsiteY25" fmla="*/ 675922 h 955271"/>
              <a:gd name="connsiteX26" fmla="*/ 1412292 w 5741575"/>
              <a:gd name="connsiteY26" fmla="*/ 670793 h 955271"/>
              <a:gd name="connsiteX27" fmla="*/ 1494753 w 5741575"/>
              <a:gd name="connsiteY27" fmla="*/ 644686 h 955271"/>
              <a:gd name="connsiteX28" fmla="*/ 1616217 w 5741575"/>
              <a:gd name="connsiteY28" fmla="*/ 622107 h 955271"/>
              <a:gd name="connsiteX29" fmla="*/ 1710928 w 5741575"/>
              <a:gd name="connsiteY29" fmla="*/ 600666 h 955271"/>
              <a:gd name="connsiteX30" fmla="*/ 1743718 w 5741575"/>
              <a:gd name="connsiteY30" fmla="*/ 584327 h 955271"/>
              <a:gd name="connsiteX31" fmla="*/ 1873778 w 5741575"/>
              <a:gd name="connsiteY31" fmla="*/ 530130 h 955271"/>
              <a:gd name="connsiteX32" fmla="*/ 1988411 w 5741575"/>
              <a:gd name="connsiteY32" fmla="*/ 491599 h 955271"/>
              <a:gd name="connsiteX33" fmla="*/ 2085507 w 5741575"/>
              <a:gd name="connsiteY33" fmla="*/ 498527 h 955271"/>
              <a:gd name="connsiteX34" fmla="*/ 2090767 w 5741575"/>
              <a:gd name="connsiteY34" fmla="*/ 490616 h 955271"/>
              <a:gd name="connsiteX35" fmla="*/ 2151143 w 5741575"/>
              <a:gd name="connsiteY35" fmla="*/ 478332 h 955271"/>
              <a:gd name="connsiteX36" fmla="*/ 2378710 w 5741575"/>
              <a:gd name="connsiteY36" fmla="*/ 477570 h 955271"/>
              <a:gd name="connsiteX37" fmla="*/ 2496256 w 5741575"/>
              <a:gd name="connsiteY37" fmla="*/ 452396 h 955271"/>
              <a:gd name="connsiteX38" fmla="*/ 2535387 w 5741575"/>
              <a:gd name="connsiteY38" fmla="*/ 436645 h 955271"/>
              <a:gd name="connsiteX39" fmla="*/ 2601109 w 5741575"/>
              <a:gd name="connsiteY39" fmla="*/ 410678 h 955271"/>
              <a:gd name="connsiteX40" fmla="*/ 2643855 w 5741575"/>
              <a:gd name="connsiteY40" fmla="*/ 374482 h 955271"/>
              <a:gd name="connsiteX41" fmla="*/ 2657726 w 5741575"/>
              <a:gd name="connsiteY41" fmla="*/ 365841 h 955271"/>
              <a:gd name="connsiteX42" fmla="*/ 2687125 w 5741575"/>
              <a:gd name="connsiteY42" fmla="*/ 366820 h 955271"/>
              <a:gd name="connsiteX43" fmla="*/ 2697479 w 5741575"/>
              <a:gd name="connsiteY43" fmla="*/ 361430 h 955271"/>
              <a:gd name="connsiteX44" fmla="*/ 2731718 w 5741575"/>
              <a:gd name="connsiteY44" fmla="*/ 361545 h 955271"/>
              <a:gd name="connsiteX45" fmla="*/ 2777227 w 5741575"/>
              <a:gd name="connsiteY45" fmla="*/ 368972 h 955271"/>
              <a:gd name="connsiteX46" fmla="*/ 2824768 w 5741575"/>
              <a:gd name="connsiteY46" fmla="*/ 361652 h 955271"/>
              <a:gd name="connsiteX47" fmla="*/ 2885545 w 5741575"/>
              <a:gd name="connsiteY47" fmla="*/ 372818 h 955271"/>
              <a:gd name="connsiteX48" fmla="*/ 3009558 w 5741575"/>
              <a:gd name="connsiteY48" fmla="*/ 370573 h 955271"/>
              <a:gd name="connsiteX49" fmla="*/ 3095010 w 5741575"/>
              <a:gd name="connsiteY49" fmla="*/ 332454 h 955271"/>
              <a:gd name="connsiteX50" fmla="*/ 3103742 w 5741575"/>
              <a:gd name="connsiteY50" fmla="*/ 337974 h 955271"/>
              <a:gd name="connsiteX51" fmla="*/ 3165093 w 5741575"/>
              <a:gd name="connsiteY51" fmla="*/ 329459 h 955271"/>
              <a:gd name="connsiteX52" fmla="*/ 3373785 w 5741575"/>
              <a:gd name="connsiteY52" fmla="*/ 255680 h 955271"/>
              <a:gd name="connsiteX53" fmla="*/ 3493851 w 5741575"/>
              <a:gd name="connsiteY53" fmla="*/ 240255 h 955271"/>
              <a:gd name="connsiteX54" fmla="*/ 3537470 w 5741575"/>
              <a:gd name="connsiteY54" fmla="*/ 241867 h 955271"/>
              <a:gd name="connsiteX55" fmla="*/ 3610489 w 5741575"/>
              <a:gd name="connsiteY55" fmla="*/ 244128 h 955271"/>
              <a:gd name="connsiteX56" fmla="*/ 3667539 w 5741575"/>
              <a:gd name="connsiteY56" fmla="*/ 263271 h 955271"/>
              <a:gd name="connsiteX57" fmla="*/ 3727614 w 5741575"/>
              <a:gd name="connsiteY57" fmla="*/ 258245 h 955271"/>
              <a:gd name="connsiteX58" fmla="*/ 3738369 w 5741575"/>
              <a:gd name="connsiteY58" fmla="*/ 234506 h 955271"/>
              <a:gd name="connsiteX59" fmla="*/ 3803670 w 5741575"/>
              <a:gd name="connsiteY59" fmla="*/ 236457 h 955271"/>
              <a:gd name="connsiteX60" fmla="*/ 3903080 w 5741575"/>
              <a:gd name="connsiteY60" fmla="*/ 241890 h 955271"/>
              <a:gd name="connsiteX61" fmla="*/ 4114838 w 5741575"/>
              <a:gd name="connsiteY61" fmla="*/ 238165 h 955271"/>
              <a:gd name="connsiteX62" fmla="*/ 4271023 w 5741575"/>
              <a:gd name="connsiteY62" fmla="*/ 241959 h 955271"/>
              <a:gd name="connsiteX63" fmla="*/ 4367397 w 5741575"/>
              <a:gd name="connsiteY63" fmla="*/ 271442 h 955271"/>
              <a:gd name="connsiteX64" fmla="*/ 4495366 w 5741575"/>
              <a:gd name="connsiteY64" fmla="*/ 271618 h 955271"/>
              <a:gd name="connsiteX65" fmla="*/ 4517347 w 5741575"/>
              <a:gd name="connsiteY65" fmla="*/ 275639 h 955271"/>
              <a:gd name="connsiteX66" fmla="*/ 4546116 w 5741575"/>
              <a:gd name="connsiteY66" fmla="*/ 268568 h 955271"/>
              <a:gd name="connsiteX67" fmla="*/ 4661259 w 5741575"/>
              <a:gd name="connsiteY67" fmla="*/ 238966 h 955271"/>
              <a:gd name="connsiteX68" fmla="*/ 4750403 w 5741575"/>
              <a:gd name="connsiteY68" fmla="*/ 204364 h 955271"/>
              <a:gd name="connsiteX69" fmla="*/ 4867614 w 5741575"/>
              <a:gd name="connsiteY69" fmla="*/ 208668 h 955271"/>
              <a:gd name="connsiteX70" fmla="*/ 4937036 w 5741575"/>
              <a:gd name="connsiteY70" fmla="*/ 195446 h 955271"/>
              <a:gd name="connsiteX71" fmla="*/ 5067740 w 5741575"/>
              <a:gd name="connsiteY71" fmla="*/ 172293 h 955271"/>
              <a:gd name="connsiteX72" fmla="*/ 5200247 w 5741575"/>
              <a:gd name="connsiteY72" fmla="*/ 142695 h 955271"/>
              <a:gd name="connsiteX73" fmla="*/ 5291963 w 5741575"/>
              <a:gd name="connsiteY73" fmla="*/ 139446 h 955271"/>
              <a:gd name="connsiteX74" fmla="*/ 5418472 w 5741575"/>
              <a:gd name="connsiteY74" fmla="*/ 89163 h 955271"/>
              <a:gd name="connsiteX75" fmla="*/ 5482354 w 5741575"/>
              <a:gd name="connsiteY75" fmla="*/ 69470 h 955271"/>
              <a:gd name="connsiteX76" fmla="*/ 5583280 w 5741575"/>
              <a:gd name="connsiteY76" fmla="*/ 49787 h 955271"/>
              <a:gd name="connsiteX77" fmla="*/ 5613766 w 5741575"/>
              <a:gd name="connsiteY77" fmla="*/ 41855 h 955271"/>
              <a:gd name="connsiteX78" fmla="*/ 5684952 w 5741575"/>
              <a:gd name="connsiteY78" fmla="*/ 26088 h 955271"/>
              <a:gd name="connsiteX79" fmla="*/ 5741575 w 5741575"/>
              <a:gd name="connsiteY79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6314 w 5741575"/>
              <a:gd name="connsiteY22" fmla="*/ 722473 h 955271"/>
              <a:gd name="connsiteX23" fmla="*/ 1278773 w 5741575"/>
              <a:gd name="connsiteY23" fmla="*/ 711503 h 955271"/>
              <a:gd name="connsiteX24" fmla="*/ 1317691 w 5741575"/>
              <a:gd name="connsiteY24" fmla="*/ 708529 h 955271"/>
              <a:gd name="connsiteX25" fmla="*/ 1360404 w 5741575"/>
              <a:gd name="connsiteY25" fmla="*/ 675922 h 955271"/>
              <a:gd name="connsiteX26" fmla="*/ 1412292 w 5741575"/>
              <a:gd name="connsiteY26" fmla="*/ 670793 h 955271"/>
              <a:gd name="connsiteX27" fmla="*/ 1494753 w 5741575"/>
              <a:gd name="connsiteY27" fmla="*/ 644686 h 955271"/>
              <a:gd name="connsiteX28" fmla="*/ 1616217 w 5741575"/>
              <a:gd name="connsiteY28" fmla="*/ 622107 h 955271"/>
              <a:gd name="connsiteX29" fmla="*/ 1710928 w 5741575"/>
              <a:gd name="connsiteY29" fmla="*/ 600666 h 955271"/>
              <a:gd name="connsiteX30" fmla="*/ 1743718 w 5741575"/>
              <a:gd name="connsiteY30" fmla="*/ 584327 h 955271"/>
              <a:gd name="connsiteX31" fmla="*/ 1873778 w 5741575"/>
              <a:gd name="connsiteY31" fmla="*/ 530130 h 955271"/>
              <a:gd name="connsiteX32" fmla="*/ 1988411 w 5741575"/>
              <a:gd name="connsiteY32" fmla="*/ 491599 h 955271"/>
              <a:gd name="connsiteX33" fmla="*/ 2085507 w 5741575"/>
              <a:gd name="connsiteY33" fmla="*/ 498527 h 955271"/>
              <a:gd name="connsiteX34" fmla="*/ 2090767 w 5741575"/>
              <a:gd name="connsiteY34" fmla="*/ 490616 h 955271"/>
              <a:gd name="connsiteX35" fmla="*/ 2151143 w 5741575"/>
              <a:gd name="connsiteY35" fmla="*/ 478332 h 955271"/>
              <a:gd name="connsiteX36" fmla="*/ 2378710 w 5741575"/>
              <a:gd name="connsiteY36" fmla="*/ 477570 h 955271"/>
              <a:gd name="connsiteX37" fmla="*/ 2496256 w 5741575"/>
              <a:gd name="connsiteY37" fmla="*/ 452396 h 955271"/>
              <a:gd name="connsiteX38" fmla="*/ 2535387 w 5741575"/>
              <a:gd name="connsiteY38" fmla="*/ 436645 h 955271"/>
              <a:gd name="connsiteX39" fmla="*/ 2601109 w 5741575"/>
              <a:gd name="connsiteY39" fmla="*/ 410678 h 955271"/>
              <a:gd name="connsiteX40" fmla="*/ 2643855 w 5741575"/>
              <a:gd name="connsiteY40" fmla="*/ 374482 h 955271"/>
              <a:gd name="connsiteX41" fmla="*/ 2657726 w 5741575"/>
              <a:gd name="connsiteY41" fmla="*/ 365841 h 955271"/>
              <a:gd name="connsiteX42" fmla="*/ 2687125 w 5741575"/>
              <a:gd name="connsiteY42" fmla="*/ 366820 h 955271"/>
              <a:gd name="connsiteX43" fmla="*/ 2697479 w 5741575"/>
              <a:gd name="connsiteY43" fmla="*/ 361430 h 955271"/>
              <a:gd name="connsiteX44" fmla="*/ 2731718 w 5741575"/>
              <a:gd name="connsiteY44" fmla="*/ 361545 h 955271"/>
              <a:gd name="connsiteX45" fmla="*/ 2777227 w 5741575"/>
              <a:gd name="connsiteY45" fmla="*/ 368972 h 955271"/>
              <a:gd name="connsiteX46" fmla="*/ 2824768 w 5741575"/>
              <a:gd name="connsiteY46" fmla="*/ 361652 h 955271"/>
              <a:gd name="connsiteX47" fmla="*/ 2885545 w 5741575"/>
              <a:gd name="connsiteY47" fmla="*/ 372818 h 955271"/>
              <a:gd name="connsiteX48" fmla="*/ 3009558 w 5741575"/>
              <a:gd name="connsiteY48" fmla="*/ 370573 h 955271"/>
              <a:gd name="connsiteX49" fmla="*/ 3095010 w 5741575"/>
              <a:gd name="connsiteY49" fmla="*/ 332454 h 955271"/>
              <a:gd name="connsiteX50" fmla="*/ 3103742 w 5741575"/>
              <a:gd name="connsiteY50" fmla="*/ 337974 h 955271"/>
              <a:gd name="connsiteX51" fmla="*/ 3165093 w 5741575"/>
              <a:gd name="connsiteY51" fmla="*/ 329459 h 955271"/>
              <a:gd name="connsiteX52" fmla="*/ 3373785 w 5741575"/>
              <a:gd name="connsiteY52" fmla="*/ 255680 h 955271"/>
              <a:gd name="connsiteX53" fmla="*/ 3493851 w 5741575"/>
              <a:gd name="connsiteY53" fmla="*/ 240255 h 955271"/>
              <a:gd name="connsiteX54" fmla="*/ 3537470 w 5741575"/>
              <a:gd name="connsiteY54" fmla="*/ 241867 h 955271"/>
              <a:gd name="connsiteX55" fmla="*/ 3610489 w 5741575"/>
              <a:gd name="connsiteY55" fmla="*/ 244128 h 955271"/>
              <a:gd name="connsiteX56" fmla="*/ 3667539 w 5741575"/>
              <a:gd name="connsiteY56" fmla="*/ 263271 h 955271"/>
              <a:gd name="connsiteX57" fmla="*/ 3727614 w 5741575"/>
              <a:gd name="connsiteY57" fmla="*/ 258245 h 955271"/>
              <a:gd name="connsiteX58" fmla="*/ 3738369 w 5741575"/>
              <a:gd name="connsiteY58" fmla="*/ 234506 h 955271"/>
              <a:gd name="connsiteX59" fmla="*/ 3803670 w 5741575"/>
              <a:gd name="connsiteY59" fmla="*/ 236457 h 955271"/>
              <a:gd name="connsiteX60" fmla="*/ 3903080 w 5741575"/>
              <a:gd name="connsiteY60" fmla="*/ 241890 h 955271"/>
              <a:gd name="connsiteX61" fmla="*/ 4114838 w 5741575"/>
              <a:gd name="connsiteY61" fmla="*/ 238165 h 955271"/>
              <a:gd name="connsiteX62" fmla="*/ 4271023 w 5741575"/>
              <a:gd name="connsiteY62" fmla="*/ 241959 h 955271"/>
              <a:gd name="connsiteX63" fmla="*/ 4367397 w 5741575"/>
              <a:gd name="connsiteY63" fmla="*/ 271442 h 955271"/>
              <a:gd name="connsiteX64" fmla="*/ 4495366 w 5741575"/>
              <a:gd name="connsiteY64" fmla="*/ 271618 h 955271"/>
              <a:gd name="connsiteX65" fmla="*/ 4517347 w 5741575"/>
              <a:gd name="connsiteY65" fmla="*/ 275639 h 955271"/>
              <a:gd name="connsiteX66" fmla="*/ 4546116 w 5741575"/>
              <a:gd name="connsiteY66" fmla="*/ 268568 h 955271"/>
              <a:gd name="connsiteX67" fmla="*/ 4661259 w 5741575"/>
              <a:gd name="connsiteY67" fmla="*/ 238966 h 955271"/>
              <a:gd name="connsiteX68" fmla="*/ 4750403 w 5741575"/>
              <a:gd name="connsiteY68" fmla="*/ 204364 h 955271"/>
              <a:gd name="connsiteX69" fmla="*/ 4867614 w 5741575"/>
              <a:gd name="connsiteY69" fmla="*/ 208668 h 955271"/>
              <a:gd name="connsiteX70" fmla="*/ 4937036 w 5741575"/>
              <a:gd name="connsiteY70" fmla="*/ 195446 h 955271"/>
              <a:gd name="connsiteX71" fmla="*/ 5067740 w 5741575"/>
              <a:gd name="connsiteY71" fmla="*/ 172293 h 955271"/>
              <a:gd name="connsiteX72" fmla="*/ 5200247 w 5741575"/>
              <a:gd name="connsiteY72" fmla="*/ 142695 h 955271"/>
              <a:gd name="connsiteX73" fmla="*/ 5291963 w 5741575"/>
              <a:gd name="connsiteY73" fmla="*/ 139446 h 955271"/>
              <a:gd name="connsiteX74" fmla="*/ 5418472 w 5741575"/>
              <a:gd name="connsiteY74" fmla="*/ 89163 h 955271"/>
              <a:gd name="connsiteX75" fmla="*/ 5482354 w 5741575"/>
              <a:gd name="connsiteY75" fmla="*/ 69470 h 955271"/>
              <a:gd name="connsiteX76" fmla="*/ 5583280 w 5741575"/>
              <a:gd name="connsiteY76" fmla="*/ 49787 h 955271"/>
              <a:gd name="connsiteX77" fmla="*/ 5613766 w 5741575"/>
              <a:gd name="connsiteY77" fmla="*/ 41855 h 955271"/>
              <a:gd name="connsiteX78" fmla="*/ 5684952 w 5741575"/>
              <a:gd name="connsiteY78" fmla="*/ 26088 h 955271"/>
              <a:gd name="connsiteX79" fmla="*/ 5741575 w 5741575"/>
              <a:gd name="connsiteY79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6314 w 5741575"/>
              <a:gd name="connsiteY22" fmla="*/ 722473 h 955271"/>
              <a:gd name="connsiteX23" fmla="*/ 1278773 w 5741575"/>
              <a:gd name="connsiteY23" fmla="*/ 711503 h 955271"/>
              <a:gd name="connsiteX24" fmla="*/ 1317691 w 5741575"/>
              <a:gd name="connsiteY24" fmla="*/ 708529 h 955271"/>
              <a:gd name="connsiteX25" fmla="*/ 1360404 w 5741575"/>
              <a:gd name="connsiteY25" fmla="*/ 675922 h 955271"/>
              <a:gd name="connsiteX26" fmla="*/ 1412292 w 5741575"/>
              <a:gd name="connsiteY26" fmla="*/ 670793 h 955271"/>
              <a:gd name="connsiteX27" fmla="*/ 1494753 w 5741575"/>
              <a:gd name="connsiteY27" fmla="*/ 644686 h 955271"/>
              <a:gd name="connsiteX28" fmla="*/ 1616217 w 5741575"/>
              <a:gd name="connsiteY28" fmla="*/ 622107 h 955271"/>
              <a:gd name="connsiteX29" fmla="*/ 1710928 w 5741575"/>
              <a:gd name="connsiteY29" fmla="*/ 600666 h 955271"/>
              <a:gd name="connsiteX30" fmla="*/ 1743718 w 5741575"/>
              <a:gd name="connsiteY30" fmla="*/ 584327 h 955271"/>
              <a:gd name="connsiteX31" fmla="*/ 1873778 w 5741575"/>
              <a:gd name="connsiteY31" fmla="*/ 530130 h 955271"/>
              <a:gd name="connsiteX32" fmla="*/ 1988411 w 5741575"/>
              <a:gd name="connsiteY32" fmla="*/ 491599 h 955271"/>
              <a:gd name="connsiteX33" fmla="*/ 2085507 w 5741575"/>
              <a:gd name="connsiteY33" fmla="*/ 498527 h 955271"/>
              <a:gd name="connsiteX34" fmla="*/ 2090767 w 5741575"/>
              <a:gd name="connsiteY34" fmla="*/ 490616 h 955271"/>
              <a:gd name="connsiteX35" fmla="*/ 2151143 w 5741575"/>
              <a:gd name="connsiteY35" fmla="*/ 478332 h 955271"/>
              <a:gd name="connsiteX36" fmla="*/ 2378710 w 5741575"/>
              <a:gd name="connsiteY36" fmla="*/ 477570 h 955271"/>
              <a:gd name="connsiteX37" fmla="*/ 2496256 w 5741575"/>
              <a:gd name="connsiteY37" fmla="*/ 452396 h 955271"/>
              <a:gd name="connsiteX38" fmla="*/ 2535387 w 5741575"/>
              <a:gd name="connsiteY38" fmla="*/ 436645 h 955271"/>
              <a:gd name="connsiteX39" fmla="*/ 2601109 w 5741575"/>
              <a:gd name="connsiteY39" fmla="*/ 410678 h 955271"/>
              <a:gd name="connsiteX40" fmla="*/ 2643855 w 5741575"/>
              <a:gd name="connsiteY40" fmla="*/ 374482 h 955271"/>
              <a:gd name="connsiteX41" fmla="*/ 2657726 w 5741575"/>
              <a:gd name="connsiteY41" fmla="*/ 365841 h 955271"/>
              <a:gd name="connsiteX42" fmla="*/ 2687125 w 5741575"/>
              <a:gd name="connsiteY42" fmla="*/ 366820 h 955271"/>
              <a:gd name="connsiteX43" fmla="*/ 2697479 w 5741575"/>
              <a:gd name="connsiteY43" fmla="*/ 361430 h 955271"/>
              <a:gd name="connsiteX44" fmla="*/ 2731718 w 5741575"/>
              <a:gd name="connsiteY44" fmla="*/ 361545 h 955271"/>
              <a:gd name="connsiteX45" fmla="*/ 2777227 w 5741575"/>
              <a:gd name="connsiteY45" fmla="*/ 368972 h 955271"/>
              <a:gd name="connsiteX46" fmla="*/ 2824768 w 5741575"/>
              <a:gd name="connsiteY46" fmla="*/ 361652 h 955271"/>
              <a:gd name="connsiteX47" fmla="*/ 2885545 w 5741575"/>
              <a:gd name="connsiteY47" fmla="*/ 372818 h 955271"/>
              <a:gd name="connsiteX48" fmla="*/ 3009558 w 5741575"/>
              <a:gd name="connsiteY48" fmla="*/ 370573 h 955271"/>
              <a:gd name="connsiteX49" fmla="*/ 3095010 w 5741575"/>
              <a:gd name="connsiteY49" fmla="*/ 332454 h 955271"/>
              <a:gd name="connsiteX50" fmla="*/ 3103742 w 5741575"/>
              <a:gd name="connsiteY50" fmla="*/ 337974 h 955271"/>
              <a:gd name="connsiteX51" fmla="*/ 3195264 w 5741575"/>
              <a:gd name="connsiteY51" fmla="*/ 293158 h 955271"/>
              <a:gd name="connsiteX52" fmla="*/ 3373785 w 5741575"/>
              <a:gd name="connsiteY52" fmla="*/ 255680 h 955271"/>
              <a:gd name="connsiteX53" fmla="*/ 3493851 w 5741575"/>
              <a:gd name="connsiteY53" fmla="*/ 240255 h 955271"/>
              <a:gd name="connsiteX54" fmla="*/ 3537470 w 5741575"/>
              <a:gd name="connsiteY54" fmla="*/ 241867 h 955271"/>
              <a:gd name="connsiteX55" fmla="*/ 3610489 w 5741575"/>
              <a:gd name="connsiteY55" fmla="*/ 244128 h 955271"/>
              <a:gd name="connsiteX56" fmla="*/ 3667539 w 5741575"/>
              <a:gd name="connsiteY56" fmla="*/ 263271 h 955271"/>
              <a:gd name="connsiteX57" fmla="*/ 3727614 w 5741575"/>
              <a:gd name="connsiteY57" fmla="*/ 258245 h 955271"/>
              <a:gd name="connsiteX58" fmla="*/ 3738369 w 5741575"/>
              <a:gd name="connsiteY58" fmla="*/ 234506 h 955271"/>
              <a:gd name="connsiteX59" fmla="*/ 3803670 w 5741575"/>
              <a:gd name="connsiteY59" fmla="*/ 236457 h 955271"/>
              <a:gd name="connsiteX60" fmla="*/ 3903080 w 5741575"/>
              <a:gd name="connsiteY60" fmla="*/ 241890 h 955271"/>
              <a:gd name="connsiteX61" fmla="*/ 4114838 w 5741575"/>
              <a:gd name="connsiteY61" fmla="*/ 238165 h 955271"/>
              <a:gd name="connsiteX62" fmla="*/ 4271023 w 5741575"/>
              <a:gd name="connsiteY62" fmla="*/ 241959 h 955271"/>
              <a:gd name="connsiteX63" fmla="*/ 4367397 w 5741575"/>
              <a:gd name="connsiteY63" fmla="*/ 271442 h 955271"/>
              <a:gd name="connsiteX64" fmla="*/ 4495366 w 5741575"/>
              <a:gd name="connsiteY64" fmla="*/ 271618 h 955271"/>
              <a:gd name="connsiteX65" fmla="*/ 4517347 w 5741575"/>
              <a:gd name="connsiteY65" fmla="*/ 275639 h 955271"/>
              <a:gd name="connsiteX66" fmla="*/ 4546116 w 5741575"/>
              <a:gd name="connsiteY66" fmla="*/ 268568 h 955271"/>
              <a:gd name="connsiteX67" fmla="*/ 4661259 w 5741575"/>
              <a:gd name="connsiteY67" fmla="*/ 238966 h 955271"/>
              <a:gd name="connsiteX68" fmla="*/ 4750403 w 5741575"/>
              <a:gd name="connsiteY68" fmla="*/ 204364 h 955271"/>
              <a:gd name="connsiteX69" fmla="*/ 4867614 w 5741575"/>
              <a:gd name="connsiteY69" fmla="*/ 208668 h 955271"/>
              <a:gd name="connsiteX70" fmla="*/ 4937036 w 5741575"/>
              <a:gd name="connsiteY70" fmla="*/ 195446 h 955271"/>
              <a:gd name="connsiteX71" fmla="*/ 5067740 w 5741575"/>
              <a:gd name="connsiteY71" fmla="*/ 172293 h 955271"/>
              <a:gd name="connsiteX72" fmla="*/ 5200247 w 5741575"/>
              <a:gd name="connsiteY72" fmla="*/ 142695 h 955271"/>
              <a:gd name="connsiteX73" fmla="*/ 5291963 w 5741575"/>
              <a:gd name="connsiteY73" fmla="*/ 139446 h 955271"/>
              <a:gd name="connsiteX74" fmla="*/ 5418472 w 5741575"/>
              <a:gd name="connsiteY74" fmla="*/ 89163 h 955271"/>
              <a:gd name="connsiteX75" fmla="*/ 5482354 w 5741575"/>
              <a:gd name="connsiteY75" fmla="*/ 69470 h 955271"/>
              <a:gd name="connsiteX76" fmla="*/ 5583280 w 5741575"/>
              <a:gd name="connsiteY76" fmla="*/ 49787 h 955271"/>
              <a:gd name="connsiteX77" fmla="*/ 5613766 w 5741575"/>
              <a:gd name="connsiteY77" fmla="*/ 41855 h 955271"/>
              <a:gd name="connsiteX78" fmla="*/ 5684952 w 5741575"/>
              <a:gd name="connsiteY78" fmla="*/ 26088 h 955271"/>
              <a:gd name="connsiteX79" fmla="*/ 5741575 w 5741575"/>
              <a:gd name="connsiteY79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6314 w 5741575"/>
              <a:gd name="connsiteY22" fmla="*/ 722473 h 955271"/>
              <a:gd name="connsiteX23" fmla="*/ 1278773 w 5741575"/>
              <a:gd name="connsiteY23" fmla="*/ 711503 h 955271"/>
              <a:gd name="connsiteX24" fmla="*/ 1317691 w 5741575"/>
              <a:gd name="connsiteY24" fmla="*/ 708529 h 955271"/>
              <a:gd name="connsiteX25" fmla="*/ 1360404 w 5741575"/>
              <a:gd name="connsiteY25" fmla="*/ 675922 h 955271"/>
              <a:gd name="connsiteX26" fmla="*/ 1412292 w 5741575"/>
              <a:gd name="connsiteY26" fmla="*/ 670793 h 955271"/>
              <a:gd name="connsiteX27" fmla="*/ 1494753 w 5741575"/>
              <a:gd name="connsiteY27" fmla="*/ 644686 h 955271"/>
              <a:gd name="connsiteX28" fmla="*/ 1616217 w 5741575"/>
              <a:gd name="connsiteY28" fmla="*/ 622107 h 955271"/>
              <a:gd name="connsiteX29" fmla="*/ 1710928 w 5741575"/>
              <a:gd name="connsiteY29" fmla="*/ 600666 h 955271"/>
              <a:gd name="connsiteX30" fmla="*/ 1743718 w 5741575"/>
              <a:gd name="connsiteY30" fmla="*/ 584327 h 955271"/>
              <a:gd name="connsiteX31" fmla="*/ 1873778 w 5741575"/>
              <a:gd name="connsiteY31" fmla="*/ 530130 h 955271"/>
              <a:gd name="connsiteX32" fmla="*/ 1988411 w 5741575"/>
              <a:gd name="connsiteY32" fmla="*/ 491599 h 955271"/>
              <a:gd name="connsiteX33" fmla="*/ 2085507 w 5741575"/>
              <a:gd name="connsiteY33" fmla="*/ 498527 h 955271"/>
              <a:gd name="connsiteX34" fmla="*/ 2090767 w 5741575"/>
              <a:gd name="connsiteY34" fmla="*/ 490616 h 955271"/>
              <a:gd name="connsiteX35" fmla="*/ 2151143 w 5741575"/>
              <a:gd name="connsiteY35" fmla="*/ 478332 h 955271"/>
              <a:gd name="connsiteX36" fmla="*/ 2378710 w 5741575"/>
              <a:gd name="connsiteY36" fmla="*/ 477570 h 955271"/>
              <a:gd name="connsiteX37" fmla="*/ 2496256 w 5741575"/>
              <a:gd name="connsiteY37" fmla="*/ 452396 h 955271"/>
              <a:gd name="connsiteX38" fmla="*/ 2535387 w 5741575"/>
              <a:gd name="connsiteY38" fmla="*/ 436645 h 955271"/>
              <a:gd name="connsiteX39" fmla="*/ 2601109 w 5741575"/>
              <a:gd name="connsiteY39" fmla="*/ 410678 h 955271"/>
              <a:gd name="connsiteX40" fmla="*/ 2643855 w 5741575"/>
              <a:gd name="connsiteY40" fmla="*/ 374482 h 955271"/>
              <a:gd name="connsiteX41" fmla="*/ 2657726 w 5741575"/>
              <a:gd name="connsiteY41" fmla="*/ 365841 h 955271"/>
              <a:gd name="connsiteX42" fmla="*/ 2687125 w 5741575"/>
              <a:gd name="connsiteY42" fmla="*/ 366820 h 955271"/>
              <a:gd name="connsiteX43" fmla="*/ 2697479 w 5741575"/>
              <a:gd name="connsiteY43" fmla="*/ 361430 h 955271"/>
              <a:gd name="connsiteX44" fmla="*/ 2731718 w 5741575"/>
              <a:gd name="connsiteY44" fmla="*/ 361545 h 955271"/>
              <a:gd name="connsiteX45" fmla="*/ 2777227 w 5741575"/>
              <a:gd name="connsiteY45" fmla="*/ 368972 h 955271"/>
              <a:gd name="connsiteX46" fmla="*/ 2824768 w 5741575"/>
              <a:gd name="connsiteY46" fmla="*/ 361652 h 955271"/>
              <a:gd name="connsiteX47" fmla="*/ 2885545 w 5741575"/>
              <a:gd name="connsiteY47" fmla="*/ 372818 h 955271"/>
              <a:gd name="connsiteX48" fmla="*/ 3009558 w 5741575"/>
              <a:gd name="connsiteY48" fmla="*/ 370573 h 955271"/>
              <a:gd name="connsiteX49" fmla="*/ 3095010 w 5741575"/>
              <a:gd name="connsiteY49" fmla="*/ 332454 h 955271"/>
              <a:gd name="connsiteX50" fmla="*/ 3148998 w 5741575"/>
              <a:gd name="connsiteY50" fmla="*/ 315286 h 955271"/>
              <a:gd name="connsiteX51" fmla="*/ 3195264 w 5741575"/>
              <a:gd name="connsiteY51" fmla="*/ 293158 h 955271"/>
              <a:gd name="connsiteX52" fmla="*/ 3373785 w 5741575"/>
              <a:gd name="connsiteY52" fmla="*/ 255680 h 955271"/>
              <a:gd name="connsiteX53" fmla="*/ 3493851 w 5741575"/>
              <a:gd name="connsiteY53" fmla="*/ 240255 h 955271"/>
              <a:gd name="connsiteX54" fmla="*/ 3537470 w 5741575"/>
              <a:gd name="connsiteY54" fmla="*/ 241867 h 955271"/>
              <a:gd name="connsiteX55" fmla="*/ 3610489 w 5741575"/>
              <a:gd name="connsiteY55" fmla="*/ 244128 h 955271"/>
              <a:gd name="connsiteX56" fmla="*/ 3667539 w 5741575"/>
              <a:gd name="connsiteY56" fmla="*/ 263271 h 955271"/>
              <a:gd name="connsiteX57" fmla="*/ 3727614 w 5741575"/>
              <a:gd name="connsiteY57" fmla="*/ 258245 h 955271"/>
              <a:gd name="connsiteX58" fmla="*/ 3738369 w 5741575"/>
              <a:gd name="connsiteY58" fmla="*/ 234506 h 955271"/>
              <a:gd name="connsiteX59" fmla="*/ 3803670 w 5741575"/>
              <a:gd name="connsiteY59" fmla="*/ 236457 h 955271"/>
              <a:gd name="connsiteX60" fmla="*/ 3903080 w 5741575"/>
              <a:gd name="connsiteY60" fmla="*/ 241890 h 955271"/>
              <a:gd name="connsiteX61" fmla="*/ 4114838 w 5741575"/>
              <a:gd name="connsiteY61" fmla="*/ 238165 h 955271"/>
              <a:gd name="connsiteX62" fmla="*/ 4271023 w 5741575"/>
              <a:gd name="connsiteY62" fmla="*/ 241959 h 955271"/>
              <a:gd name="connsiteX63" fmla="*/ 4367397 w 5741575"/>
              <a:gd name="connsiteY63" fmla="*/ 271442 h 955271"/>
              <a:gd name="connsiteX64" fmla="*/ 4495366 w 5741575"/>
              <a:gd name="connsiteY64" fmla="*/ 271618 h 955271"/>
              <a:gd name="connsiteX65" fmla="*/ 4517347 w 5741575"/>
              <a:gd name="connsiteY65" fmla="*/ 275639 h 955271"/>
              <a:gd name="connsiteX66" fmla="*/ 4546116 w 5741575"/>
              <a:gd name="connsiteY66" fmla="*/ 268568 h 955271"/>
              <a:gd name="connsiteX67" fmla="*/ 4661259 w 5741575"/>
              <a:gd name="connsiteY67" fmla="*/ 238966 h 955271"/>
              <a:gd name="connsiteX68" fmla="*/ 4750403 w 5741575"/>
              <a:gd name="connsiteY68" fmla="*/ 204364 h 955271"/>
              <a:gd name="connsiteX69" fmla="*/ 4867614 w 5741575"/>
              <a:gd name="connsiteY69" fmla="*/ 208668 h 955271"/>
              <a:gd name="connsiteX70" fmla="*/ 4937036 w 5741575"/>
              <a:gd name="connsiteY70" fmla="*/ 195446 h 955271"/>
              <a:gd name="connsiteX71" fmla="*/ 5067740 w 5741575"/>
              <a:gd name="connsiteY71" fmla="*/ 172293 h 955271"/>
              <a:gd name="connsiteX72" fmla="*/ 5200247 w 5741575"/>
              <a:gd name="connsiteY72" fmla="*/ 142695 h 955271"/>
              <a:gd name="connsiteX73" fmla="*/ 5291963 w 5741575"/>
              <a:gd name="connsiteY73" fmla="*/ 139446 h 955271"/>
              <a:gd name="connsiteX74" fmla="*/ 5418472 w 5741575"/>
              <a:gd name="connsiteY74" fmla="*/ 89163 h 955271"/>
              <a:gd name="connsiteX75" fmla="*/ 5482354 w 5741575"/>
              <a:gd name="connsiteY75" fmla="*/ 69470 h 955271"/>
              <a:gd name="connsiteX76" fmla="*/ 5583280 w 5741575"/>
              <a:gd name="connsiteY76" fmla="*/ 49787 h 955271"/>
              <a:gd name="connsiteX77" fmla="*/ 5613766 w 5741575"/>
              <a:gd name="connsiteY77" fmla="*/ 41855 h 955271"/>
              <a:gd name="connsiteX78" fmla="*/ 5684952 w 5741575"/>
              <a:gd name="connsiteY78" fmla="*/ 26088 h 955271"/>
              <a:gd name="connsiteX79" fmla="*/ 5741575 w 5741575"/>
              <a:gd name="connsiteY79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6314 w 5741575"/>
              <a:gd name="connsiteY22" fmla="*/ 722473 h 955271"/>
              <a:gd name="connsiteX23" fmla="*/ 1278773 w 5741575"/>
              <a:gd name="connsiteY23" fmla="*/ 711503 h 955271"/>
              <a:gd name="connsiteX24" fmla="*/ 1317691 w 5741575"/>
              <a:gd name="connsiteY24" fmla="*/ 708529 h 955271"/>
              <a:gd name="connsiteX25" fmla="*/ 1360404 w 5741575"/>
              <a:gd name="connsiteY25" fmla="*/ 675922 h 955271"/>
              <a:gd name="connsiteX26" fmla="*/ 1412292 w 5741575"/>
              <a:gd name="connsiteY26" fmla="*/ 670793 h 955271"/>
              <a:gd name="connsiteX27" fmla="*/ 1494753 w 5741575"/>
              <a:gd name="connsiteY27" fmla="*/ 644686 h 955271"/>
              <a:gd name="connsiteX28" fmla="*/ 1616217 w 5741575"/>
              <a:gd name="connsiteY28" fmla="*/ 622107 h 955271"/>
              <a:gd name="connsiteX29" fmla="*/ 1710928 w 5741575"/>
              <a:gd name="connsiteY29" fmla="*/ 600666 h 955271"/>
              <a:gd name="connsiteX30" fmla="*/ 1743718 w 5741575"/>
              <a:gd name="connsiteY30" fmla="*/ 584327 h 955271"/>
              <a:gd name="connsiteX31" fmla="*/ 1873778 w 5741575"/>
              <a:gd name="connsiteY31" fmla="*/ 530130 h 955271"/>
              <a:gd name="connsiteX32" fmla="*/ 1988411 w 5741575"/>
              <a:gd name="connsiteY32" fmla="*/ 491599 h 955271"/>
              <a:gd name="connsiteX33" fmla="*/ 2085507 w 5741575"/>
              <a:gd name="connsiteY33" fmla="*/ 498527 h 955271"/>
              <a:gd name="connsiteX34" fmla="*/ 2090767 w 5741575"/>
              <a:gd name="connsiteY34" fmla="*/ 490616 h 955271"/>
              <a:gd name="connsiteX35" fmla="*/ 2151143 w 5741575"/>
              <a:gd name="connsiteY35" fmla="*/ 478332 h 955271"/>
              <a:gd name="connsiteX36" fmla="*/ 2378710 w 5741575"/>
              <a:gd name="connsiteY36" fmla="*/ 477570 h 955271"/>
              <a:gd name="connsiteX37" fmla="*/ 2496256 w 5741575"/>
              <a:gd name="connsiteY37" fmla="*/ 452396 h 955271"/>
              <a:gd name="connsiteX38" fmla="*/ 2535387 w 5741575"/>
              <a:gd name="connsiteY38" fmla="*/ 436645 h 955271"/>
              <a:gd name="connsiteX39" fmla="*/ 2601109 w 5741575"/>
              <a:gd name="connsiteY39" fmla="*/ 410678 h 955271"/>
              <a:gd name="connsiteX40" fmla="*/ 2643855 w 5741575"/>
              <a:gd name="connsiteY40" fmla="*/ 374482 h 955271"/>
              <a:gd name="connsiteX41" fmla="*/ 2657726 w 5741575"/>
              <a:gd name="connsiteY41" fmla="*/ 365841 h 955271"/>
              <a:gd name="connsiteX42" fmla="*/ 2687125 w 5741575"/>
              <a:gd name="connsiteY42" fmla="*/ 366820 h 955271"/>
              <a:gd name="connsiteX43" fmla="*/ 2697479 w 5741575"/>
              <a:gd name="connsiteY43" fmla="*/ 361430 h 955271"/>
              <a:gd name="connsiteX44" fmla="*/ 2777227 w 5741575"/>
              <a:gd name="connsiteY44" fmla="*/ 368972 h 955271"/>
              <a:gd name="connsiteX45" fmla="*/ 2824768 w 5741575"/>
              <a:gd name="connsiteY45" fmla="*/ 361652 h 955271"/>
              <a:gd name="connsiteX46" fmla="*/ 2885545 w 5741575"/>
              <a:gd name="connsiteY46" fmla="*/ 372818 h 955271"/>
              <a:gd name="connsiteX47" fmla="*/ 3009558 w 5741575"/>
              <a:gd name="connsiteY47" fmla="*/ 370573 h 955271"/>
              <a:gd name="connsiteX48" fmla="*/ 3095010 w 5741575"/>
              <a:gd name="connsiteY48" fmla="*/ 332454 h 955271"/>
              <a:gd name="connsiteX49" fmla="*/ 3148998 w 5741575"/>
              <a:gd name="connsiteY49" fmla="*/ 315286 h 955271"/>
              <a:gd name="connsiteX50" fmla="*/ 3195264 w 5741575"/>
              <a:gd name="connsiteY50" fmla="*/ 293158 h 955271"/>
              <a:gd name="connsiteX51" fmla="*/ 3373785 w 5741575"/>
              <a:gd name="connsiteY51" fmla="*/ 255680 h 955271"/>
              <a:gd name="connsiteX52" fmla="*/ 3493851 w 5741575"/>
              <a:gd name="connsiteY52" fmla="*/ 240255 h 955271"/>
              <a:gd name="connsiteX53" fmla="*/ 3537470 w 5741575"/>
              <a:gd name="connsiteY53" fmla="*/ 241867 h 955271"/>
              <a:gd name="connsiteX54" fmla="*/ 3610489 w 5741575"/>
              <a:gd name="connsiteY54" fmla="*/ 244128 h 955271"/>
              <a:gd name="connsiteX55" fmla="*/ 3667539 w 5741575"/>
              <a:gd name="connsiteY55" fmla="*/ 263271 h 955271"/>
              <a:gd name="connsiteX56" fmla="*/ 3727614 w 5741575"/>
              <a:gd name="connsiteY56" fmla="*/ 258245 h 955271"/>
              <a:gd name="connsiteX57" fmla="*/ 3738369 w 5741575"/>
              <a:gd name="connsiteY57" fmla="*/ 234506 h 955271"/>
              <a:gd name="connsiteX58" fmla="*/ 3803670 w 5741575"/>
              <a:gd name="connsiteY58" fmla="*/ 236457 h 955271"/>
              <a:gd name="connsiteX59" fmla="*/ 3903080 w 5741575"/>
              <a:gd name="connsiteY59" fmla="*/ 241890 h 955271"/>
              <a:gd name="connsiteX60" fmla="*/ 4114838 w 5741575"/>
              <a:gd name="connsiteY60" fmla="*/ 238165 h 955271"/>
              <a:gd name="connsiteX61" fmla="*/ 4271023 w 5741575"/>
              <a:gd name="connsiteY61" fmla="*/ 241959 h 955271"/>
              <a:gd name="connsiteX62" fmla="*/ 4367397 w 5741575"/>
              <a:gd name="connsiteY62" fmla="*/ 271442 h 955271"/>
              <a:gd name="connsiteX63" fmla="*/ 4495366 w 5741575"/>
              <a:gd name="connsiteY63" fmla="*/ 271618 h 955271"/>
              <a:gd name="connsiteX64" fmla="*/ 4517347 w 5741575"/>
              <a:gd name="connsiteY64" fmla="*/ 275639 h 955271"/>
              <a:gd name="connsiteX65" fmla="*/ 4546116 w 5741575"/>
              <a:gd name="connsiteY65" fmla="*/ 268568 h 955271"/>
              <a:gd name="connsiteX66" fmla="*/ 4661259 w 5741575"/>
              <a:gd name="connsiteY66" fmla="*/ 238966 h 955271"/>
              <a:gd name="connsiteX67" fmla="*/ 4750403 w 5741575"/>
              <a:gd name="connsiteY67" fmla="*/ 204364 h 955271"/>
              <a:gd name="connsiteX68" fmla="*/ 4867614 w 5741575"/>
              <a:gd name="connsiteY68" fmla="*/ 208668 h 955271"/>
              <a:gd name="connsiteX69" fmla="*/ 4937036 w 5741575"/>
              <a:gd name="connsiteY69" fmla="*/ 195446 h 955271"/>
              <a:gd name="connsiteX70" fmla="*/ 5067740 w 5741575"/>
              <a:gd name="connsiteY70" fmla="*/ 172293 h 955271"/>
              <a:gd name="connsiteX71" fmla="*/ 5200247 w 5741575"/>
              <a:gd name="connsiteY71" fmla="*/ 142695 h 955271"/>
              <a:gd name="connsiteX72" fmla="*/ 5291963 w 5741575"/>
              <a:gd name="connsiteY72" fmla="*/ 139446 h 955271"/>
              <a:gd name="connsiteX73" fmla="*/ 5418472 w 5741575"/>
              <a:gd name="connsiteY73" fmla="*/ 89163 h 955271"/>
              <a:gd name="connsiteX74" fmla="*/ 5482354 w 5741575"/>
              <a:gd name="connsiteY74" fmla="*/ 69470 h 955271"/>
              <a:gd name="connsiteX75" fmla="*/ 5583280 w 5741575"/>
              <a:gd name="connsiteY75" fmla="*/ 49787 h 955271"/>
              <a:gd name="connsiteX76" fmla="*/ 5613766 w 5741575"/>
              <a:gd name="connsiteY76" fmla="*/ 41855 h 955271"/>
              <a:gd name="connsiteX77" fmla="*/ 5684952 w 5741575"/>
              <a:gd name="connsiteY77" fmla="*/ 26088 h 955271"/>
              <a:gd name="connsiteX78" fmla="*/ 5741575 w 5741575"/>
              <a:gd name="connsiteY78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6314 w 5741575"/>
              <a:gd name="connsiteY22" fmla="*/ 722473 h 955271"/>
              <a:gd name="connsiteX23" fmla="*/ 1278773 w 5741575"/>
              <a:gd name="connsiteY23" fmla="*/ 711503 h 955271"/>
              <a:gd name="connsiteX24" fmla="*/ 1317691 w 5741575"/>
              <a:gd name="connsiteY24" fmla="*/ 708529 h 955271"/>
              <a:gd name="connsiteX25" fmla="*/ 1360404 w 5741575"/>
              <a:gd name="connsiteY25" fmla="*/ 675922 h 955271"/>
              <a:gd name="connsiteX26" fmla="*/ 1412292 w 5741575"/>
              <a:gd name="connsiteY26" fmla="*/ 670793 h 955271"/>
              <a:gd name="connsiteX27" fmla="*/ 1494753 w 5741575"/>
              <a:gd name="connsiteY27" fmla="*/ 644686 h 955271"/>
              <a:gd name="connsiteX28" fmla="*/ 1616217 w 5741575"/>
              <a:gd name="connsiteY28" fmla="*/ 622107 h 955271"/>
              <a:gd name="connsiteX29" fmla="*/ 1710928 w 5741575"/>
              <a:gd name="connsiteY29" fmla="*/ 600666 h 955271"/>
              <a:gd name="connsiteX30" fmla="*/ 1743718 w 5741575"/>
              <a:gd name="connsiteY30" fmla="*/ 584327 h 955271"/>
              <a:gd name="connsiteX31" fmla="*/ 1873778 w 5741575"/>
              <a:gd name="connsiteY31" fmla="*/ 530130 h 955271"/>
              <a:gd name="connsiteX32" fmla="*/ 1988411 w 5741575"/>
              <a:gd name="connsiteY32" fmla="*/ 491599 h 955271"/>
              <a:gd name="connsiteX33" fmla="*/ 2085507 w 5741575"/>
              <a:gd name="connsiteY33" fmla="*/ 498527 h 955271"/>
              <a:gd name="connsiteX34" fmla="*/ 2090767 w 5741575"/>
              <a:gd name="connsiteY34" fmla="*/ 490616 h 955271"/>
              <a:gd name="connsiteX35" fmla="*/ 2151143 w 5741575"/>
              <a:gd name="connsiteY35" fmla="*/ 478332 h 955271"/>
              <a:gd name="connsiteX36" fmla="*/ 2378710 w 5741575"/>
              <a:gd name="connsiteY36" fmla="*/ 477570 h 955271"/>
              <a:gd name="connsiteX37" fmla="*/ 2496256 w 5741575"/>
              <a:gd name="connsiteY37" fmla="*/ 452396 h 955271"/>
              <a:gd name="connsiteX38" fmla="*/ 2535387 w 5741575"/>
              <a:gd name="connsiteY38" fmla="*/ 436645 h 955271"/>
              <a:gd name="connsiteX39" fmla="*/ 2601109 w 5741575"/>
              <a:gd name="connsiteY39" fmla="*/ 410678 h 955271"/>
              <a:gd name="connsiteX40" fmla="*/ 2643855 w 5741575"/>
              <a:gd name="connsiteY40" fmla="*/ 374482 h 955271"/>
              <a:gd name="connsiteX41" fmla="*/ 2657726 w 5741575"/>
              <a:gd name="connsiteY41" fmla="*/ 365841 h 955271"/>
              <a:gd name="connsiteX42" fmla="*/ 2687125 w 5741575"/>
              <a:gd name="connsiteY42" fmla="*/ 366820 h 955271"/>
              <a:gd name="connsiteX43" fmla="*/ 2777227 w 5741575"/>
              <a:gd name="connsiteY43" fmla="*/ 368972 h 955271"/>
              <a:gd name="connsiteX44" fmla="*/ 2824768 w 5741575"/>
              <a:gd name="connsiteY44" fmla="*/ 361652 h 955271"/>
              <a:gd name="connsiteX45" fmla="*/ 2885545 w 5741575"/>
              <a:gd name="connsiteY45" fmla="*/ 372818 h 955271"/>
              <a:gd name="connsiteX46" fmla="*/ 3009558 w 5741575"/>
              <a:gd name="connsiteY46" fmla="*/ 370573 h 955271"/>
              <a:gd name="connsiteX47" fmla="*/ 3095010 w 5741575"/>
              <a:gd name="connsiteY47" fmla="*/ 332454 h 955271"/>
              <a:gd name="connsiteX48" fmla="*/ 3148998 w 5741575"/>
              <a:gd name="connsiteY48" fmla="*/ 315286 h 955271"/>
              <a:gd name="connsiteX49" fmla="*/ 3195264 w 5741575"/>
              <a:gd name="connsiteY49" fmla="*/ 293158 h 955271"/>
              <a:gd name="connsiteX50" fmla="*/ 3373785 w 5741575"/>
              <a:gd name="connsiteY50" fmla="*/ 255680 h 955271"/>
              <a:gd name="connsiteX51" fmla="*/ 3493851 w 5741575"/>
              <a:gd name="connsiteY51" fmla="*/ 240255 h 955271"/>
              <a:gd name="connsiteX52" fmla="*/ 3537470 w 5741575"/>
              <a:gd name="connsiteY52" fmla="*/ 241867 h 955271"/>
              <a:gd name="connsiteX53" fmla="*/ 3610489 w 5741575"/>
              <a:gd name="connsiteY53" fmla="*/ 244128 h 955271"/>
              <a:gd name="connsiteX54" fmla="*/ 3667539 w 5741575"/>
              <a:gd name="connsiteY54" fmla="*/ 263271 h 955271"/>
              <a:gd name="connsiteX55" fmla="*/ 3727614 w 5741575"/>
              <a:gd name="connsiteY55" fmla="*/ 258245 h 955271"/>
              <a:gd name="connsiteX56" fmla="*/ 3738369 w 5741575"/>
              <a:gd name="connsiteY56" fmla="*/ 234506 h 955271"/>
              <a:gd name="connsiteX57" fmla="*/ 3803670 w 5741575"/>
              <a:gd name="connsiteY57" fmla="*/ 236457 h 955271"/>
              <a:gd name="connsiteX58" fmla="*/ 3903080 w 5741575"/>
              <a:gd name="connsiteY58" fmla="*/ 241890 h 955271"/>
              <a:gd name="connsiteX59" fmla="*/ 4114838 w 5741575"/>
              <a:gd name="connsiteY59" fmla="*/ 238165 h 955271"/>
              <a:gd name="connsiteX60" fmla="*/ 4271023 w 5741575"/>
              <a:gd name="connsiteY60" fmla="*/ 241959 h 955271"/>
              <a:gd name="connsiteX61" fmla="*/ 4367397 w 5741575"/>
              <a:gd name="connsiteY61" fmla="*/ 271442 h 955271"/>
              <a:gd name="connsiteX62" fmla="*/ 4495366 w 5741575"/>
              <a:gd name="connsiteY62" fmla="*/ 271618 h 955271"/>
              <a:gd name="connsiteX63" fmla="*/ 4517347 w 5741575"/>
              <a:gd name="connsiteY63" fmla="*/ 275639 h 955271"/>
              <a:gd name="connsiteX64" fmla="*/ 4546116 w 5741575"/>
              <a:gd name="connsiteY64" fmla="*/ 268568 h 955271"/>
              <a:gd name="connsiteX65" fmla="*/ 4661259 w 5741575"/>
              <a:gd name="connsiteY65" fmla="*/ 238966 h 955271"/>
              <a:gd name="connsiteX66" fmla="*/ 4750403 w 5741575"/>
              <a:gd name="connsiteY66" fmla="*/ 204364 h 955271"/>
              <a:gd name="connsiteX67" fmla="*/ 4867614 w 5741575"/>
              <a:gd name="connsiteY67" fmla="*/ 208668 h 955271"/>
              <a:gd name="connsiteX68" fmla="*/ 4937036 w 5741575"/>
              <a:gd name="connsiteY68" fmla="*/ 195446 h 955271"/>
              <a:gd name="connsiteX69" fmla="*/ 5067740 w 5741575"/>
              <a:gd name="connsiteY69" fmla="*/ 172293 h 955271"/>
              <a:gd name="connsiteX70" fmla="*/ 5200247 w 5741575"/>
              <a:gd name="connsiteY70" fmla="*/ 142695 h 955271"/>
              <a:gd name="connsiteX71" fmla="*/ 5291963 w 5741575"/>
              <a:gd name="connsiteY71" fmla="*/ 139446 h 955271"/>
              <a:gd name="connsiteX72" fmla="*/ 5418472 w 5741575"/>
              <a:gd name="connsiteY72" fmla="*/ 89163 h 955271"/>
              <a:gd name="connsiteX73" fmla="*/ 5482354 w 5741575"/>
              <a:gd name="connsiteY73" fmla="*/ 69470 h 955271"/>
              <a:gd name="connsiteX74" fmla="*/ 5583280 w 5741575"/>
              <a:gd name="connsiteY74" fmla="*/ 49787 h 955271"/>
              <a:gd name="connsiteX75" fmla="*/ 5613766 w 5741575"/>
              <a:gd name="connsiteY75" fmla="*/ 41855 h 955271"/>
              <a:gd name="connsiteX76" fmla="*/ 5684952 w 5741575"/>
              <a:gd name="connsiteY76" fmla="*/ 26088 h 955271"/>
              <a:gd name="connsiteX77" fmla="*/ 5741575 w 5741575"/>
              <a:gd name="connsiteY77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6314 w 5741575"/>
              <a:gd name="connsiteY22" fmla="*/ 722473 h 955271"/>
              <a:gd name="connsiteX23" fmla="*/ 1278773 w 5741575"/>
              <a:gd name="connsiteY23" fmla="*/ 711503 h 955271"/>
              <a:gd name="connsiteX24" fmla="*/ 1317691 w 5741575"/>
              <a:gd name="connsiteY24" fmla="*/ 708529 h 955271"/>
              <a:gd name="connsiteX25" fmla="*/ 1360404 w 5741575"/>
              <a:gd name="connsiteY25" fmla="*/ 675922 h 955271"/>
              <a:gd name="connsiteX26" fmla="*/ 1412292 w 5741575"/>
              <a:gd name="connsiteY26" fmla="*/ 670793 h 955271"/>
              <a:gd name="connsiteX27" fmla="*/ 1494753 w 5741575"/>
              <a:gd name="connsiteY27" fmla="*/ 644686 h 955271"/>
              <a:gd name="connsiteX28" fmla="*/ 1616217 w 5741575"/>
              <a:gd name="connsiteY28" fmla="*/ 622107 h 955271"/>
              <a:gd name="connsiteX29" fmla="*/ 1710928 w 5741575"/>
              <a:gd name="connsiteY29" fmla="*/ 600666 h 955271"/>
              <a:gd name="connsiteX30" fmla="*/ 1743718 w 5741575"/>
              <a:gd name="connsiteY30" fmla="*/ 584327 h 955271"/>
              <a:gd name="connsiteX31" fmla="*/ 1873778 w 5741575"/>
              <a:gd name="connsiteY31" fmla="*/ 530130 h 955271"/>
              <a:gd name="connsiteX32" fmla="*/ 1988411 w 5741575"/>
              <a:gd name="connsiteY32" fmla="*/ 491599 h 955271"/>
              <a:gd name="connsiteX33" fmla="*/ 2085507 w 5741575"/>
              <a:gd name="connsiteY33" fmla="*/ 498527 h 955271"/>
              <a:gd name="connsiteX34" fmla="*/ 2090767 w 5741575"/>
              <a:gd name="connsiteY34" fmla="*/ 490616 h 955271"/>
              <a:gd name="connsiteX35" fmla="*/ 2151143 w 5741575"/>
              <a:gd name="connsiteY35" fmla="*/ 478332 h 955271"/>
              <a:gd name="connsiteX36" fmla="*/ 2378710 w 5741575"/>
              <a:gd name="connsiteY36" fmla="*/ 477570 h 955271"/>
              <a:gd name="connsiteX37" fmla="*/ 2496256 w 5741575"/>
              <a:gd name="connsiteY37" fmla="*/ 452396 h 955271"/>
              <a:gd name="connsiteX38" fmla="*/ 2535387 w 5741575"/>
              <a:gd name="connsiteY38" fmla="*/ 436645 h 955271"/>
              <a:gd name="connsiteX39" fmla="*/ 2601109 w 5741575"/>
              <a:gd name="connsiteY39" fmla="*/ 410678 h 955271"/>
              <a:gd name="connsiteX40" fmla="*/ 2643855 w 5741575"/>
              <a:gd name="connsiteY40" fmla="*/ 374482 h 955271"/>
              <a:gd name="connsiteX41" fmla="*/ 2657726 w 5741575"/>
              <a:gd name="connsiteY41" fmla="*/ 365841 h 955271"/>
              <a:gd name="connsiteX42" fmla="*/ 2717296 w 5741575"/>
              <a:gd name="connsiteY42" fmla="*/ 362282 h 955271"/>
              <a:gd name="connsiteX43" fmla="*/ 2777227 w 5741575"/>
              <a:gd name="connsiteY43" fmla="*/ 368972 h 955271"/>
              <a:gd name="connsiteX44" fmla="*/ 2824768 w 5741575"/>
              <a:gd name="connsiteY44" fmla="*/ 361652 h 955271"/>
              <a:gd name="connsiteX45" fmla="*/ 2885545 w 5741575"/>
              <a:gd name="connsiteY45" fmla="*/ 372818 h 955271"/>
              <a:gd name="connsiteX46" fmla="*/ 3009558 w 5741575"/>
              <a:gd name="connsiteY46" fmla="*/ 370573 h 955271"/>
              <a:gd name="connsiteX47" fmla="*/ 3095010 w 5741575"/>
              <a:gd name="connsiteY47" fmla="*/ 332454 h 955271"/>
              <a:gd name="connsiteX48" fmla="*/ 3148998 w 5741575"/>
              <a:gd name="connsiteY48" fmla="*/ 315286 h 955271"/>
              <a:gd name="connsiteX49" fmla="*/ 3195264 w 5741575"/>
              <a:gd name="connsiteY49" fmla="*/ 293158 h 955271"/>
              <a:gd name="connsiteX50" fmla="*/ 3373785 w 5741575"/>
              <a:gd name="connsiteY50" fmla="*/ 255680 h 955271"/>
              <a:gd name="connsiteX51" fmla="*/ 3493851 w 5741575"/>
              <a:gd name="connsiteY51" fmla="*/ 240255 h 955271"/>
              <a:gd name="connsiteX52" fmla="*/ 3537470 w 5741575"/>
              <a:gd name="connsiteY52" fmla="*/ 241867 h 955271"/>
              <a:gd name="connsiteX53" fmla="*/ 3610489 w 5741575"/>
              <a:gd name="connsiteY53" fmla="*/ 244128 h 955271"/>
              <a:gd name="connsiteX54" fmla="*/ 3667539 w 5741575"/>
              <a:gd name="connsiteY54" fmla="*/ 263271 h 955271"/>
              <a:gd name="connsiteX55" fmla="*/ 3727614 w 5741575"/>
              <a:gd name="connsiteY55" fmla="*/ 258245 h 955271"/>
              <a:gd name="connsiteX56" fmla="*/ 3738369 w 5741575"/>
              <a:gd name="connsiteY56" fmla="*/ 234506 h 955271"/>
              <a:gd name="connsiteX57" fmla="*/ 3803670 w 5741575"/>
              <a:gd name="connsiteY57" fmla="*/ 236457 h 955271"/>
              <a:gd name="connsiteX58" fmla="*/ 3903080 w 5741575"/>
              <a:gd name="connsiteY58" fmla="*/ 241890 h 955271"/>
              <a:gd name="connsiteX59" fmla="*/ 4114838 w 5741575"/>
              <a:gd name="connsiteY59" fmla="*/ 238165 h 955271"/>
              <a:gd name="connsiteX60" fmla="*/ 4271023 w 5741575"/>
              <a:gd name="connsiteY60" fmla="*/ 241959 h 955271"/>
              <a:gd name="connsiteX61" fmla="*/ 4367397 w 5741575"/>
              <a:gd name="connsiteY61" fmla="*/ 271442 h 955271"/>
              <a:gd name="connsiteX62" fmla="*/ 4495366 w 5741575"/>
              <a:gd name="connsiteY62" fmla="*/ 271618 h 955271"/>
              <a:gd name="connsiteX63" fmla="*/ 4517347 w 5741575"/>
              <a:gd name="connsiteY63" fmla="*/ 275639 h 955271"/>
              <a:gd name="connsiteX64" fmla="*/ 4546116 w 5741575"/>
              <a:gd name="connsiteY64" fmla="*/ 268568 h 955271"/>
              <a:gd name="connsiteX65" fmla="*/ 4661259 w 5741575"/>
              <a:gd name="connsiteY65" fmla="*/ 238966 h 955271"/>
              <a:gd name="connsiteX66" fmla="*/ 4750403 w 5741575"/>
              <a:gd name="connsiteY66" fmla="*/ 204364 h 955271"/>
              <a:gd name="connsiteX67" fmla="*/ 4867614 w 5741575"/>
              <a:gd name="connsiteY67" fmla="*/ 208668 h 955271"/>
              <a:gd name="connsiteX68" fmla="*/ 4937036 w 5741575"/>
              <a:gd name="connsiteY68" fmla="*/ 195446 h 955271"/>
              <a:gd name="connsiteX69" fmla="*/ 5067740 w 5741575"/>
              <a:gd name="connsiteY69" fmla="*/ 172293 h 955271"/>
              <a:gd name="connsiteX70" fmla="*/ 5200247 w 5741575"/>
              <a:gd name="connsiteY70" fmla="*/ 142695 h 955271"/>
              <a:gd name="connsiteX71" fmla="*/ 5291963 w 5741575"/>
              <a:gd name="connsiteY71" fmla="*/ 139446 h 955271"/>
              <a:gd name="connsiteX72" fmla="*/ 5418472 w 5741575"/>
              <a:gd name="connsiteY72" fmla="*/ 89163 h 955271"/>
              <a:gd name="connsiteX73" fmla="*/ 5482354 w 5741575"/>
              <a:gd name="connsiteY73" fmla="*/ 69470 h 955271"/>
              <a:gd name="connsiteX74" fmla="*/ 5583280 w 5741575"/>
              <a:gd name="connsiteY74" fmla="*/ 49787 h 955271"/>
              <a:gd name="connsiteX75" fmla="*/ 5613766 w 5741575"/>
              <a:gd name="connsiteY75" fmla="*/ 41855 h 955271"/>
              <a:gd name="connsiteX76" fmla="*/ 5684952 w 5741575"/>
              <a:gd name="connsiteY76" fmla="*/ 26088 h 955271"/>
              <a:gd name="connsiteX77" fmla="*/ 5741575 w 5741575"/>
              <a:gd name="connsiteY77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6314 w 5741575"/>
              <a:gd name="connsiteY22" fmla="*/ 722473 h 955271"/>
              <a:gd name="connsiteX23" fmla="*/ 1278773 w 5741575"/>
              <a:gd name="connsiteY23" fmla="*/ 711503 h 955271"/>
              <a:gd name="connsiteX24" fmla="*/ 1317691 w 5741575"/>
              <a:gd name="connsiteY24" fmla="*/ 708529 h 955271"/>
              <a:gd name="connsiteX25" fmla="*/ 1360404 w 5741575"/>
              <a:gd name="connsiteY25" fmla="*/ 675922 h 955271"/>
              <a:gd name="connsiteX26" fmla="*/ 1412292 w 5741575"/>
              <a:gd name="connsiteY26" fmla="*/ 670793 h 955271"/>
              <a:gd name="connsiteX27" fmla="*/ 1494753 w 5741575"/>
              <a:gd name="connsiteY27" fmla="*/ 644686 h 955271"/>
              <a:gd name="connsiteX28" fmla="*/ 1616217 w 5741575"/>
              <a:gd name="connsiteY28" fmla="*/ 622107 h 955271"/>
              <a:gd name="connsiteX29" fmla="*/ 1710928 w 5741575"/>
              <a:gd name="connsiteY29" fmla="*/ 600666 h 955271"/>
              <a:gd name="connsiteX30" fmla="*/ 1743718 w 5741575"/>
              <a:gd name="connsiteY30" fmla="*/ 584327 h 955271"/>
              <a:gd name="connsiteX31" fmla="*/ 1873778 w 5741575"/>
              <a:gd name="connsiteY31" fmla="*/ 530130 h 955271"/>
              <a:gd name="connsiteX32" fmla="*/ 1988411 w 5741575"/>
              <a:gd name="connsiteY32" fmla="*/ 491599 h 955271"/>
              <a:gd name="connsiteX33" fmla="*/ 2085507 w 5741575"/>
              <a:gd name="connsiteY33" fmla="*/ 498527 h 955271"/>
              <a:gd name="connsiteX34" fmla="*/ 2090767 w 5741575"/>
              <a:gd name="connsiteY34" fmla="*/ 490616 h 955271"/>
              <a:gd name="connsiteX35" fmla="*/ 2151143 w 5741575"/>
              <a:gd name="connsiteY35" fmla="*/ 478332 h 955271"/>
              <a:gd name="connsiteX36" fmla="*/ 2378710 w 5741575"/>
              <a:gd name="connsiteY36" fmla="*/ 477570 h 955271"/>
              <a:gd name="connsiteX37" fmla="*/ 2496256 w 5741575"/>
              <a:gd name="connsiteY37" fmla="*/ 452396 h 955271"/>
              <a:gd name="connsiteX38" fmla="*/ 2535387 w 5741575"/>
              <a:gd name="connsiteY38" fmla="*/ 436645 h 955271"/>
              <a:gd name="connsiteX39" fmla="*/ 2601109 w 5741575"/>
              <a:gd name="connsiteY39" fmla="*/ 410678 h 955271"/>
              <a:gd name="connsiteX40" fmla="*/ 2643855 w 5741575"/>
              <a:gd name="connsiteY40" fmla="*/ 374482 h 955271"/>
              <a:gd name="connsiteX41" fmla="*/ 2657726 w 5741575"/>
              <a:gd name="connsiteY41" fmla="*/ 365841 h 955271"/>
              <a:gd name="connsiteX42" fmla="*/ 2717296 w 5741575"/>
              <a:gd name="connsiteY42" fmla="*/ 362282 h 955271"/>
              <a:gd name="connsiteX43" fmla="*/ 2777227 w 5741575"/>
              <a:gd name="connsiteY43" fmla="*/ 368972 h 955271"/>
              <a:gd name="connsiteX44" fmla="*/ 2824768 w 5741575"/>
              <a:gd name="connsiteY44" fmla="*/ 361652 h 955271"/>
              <a:gd name="connsiteX45" fmla="*/ 2885545 w 5741575"/>
              <a:gd name="connsiteY45" fmla="*/ 372818 h 955271"/>
              <a:gd name="connsiteX46" fmla="*/ 3009558 w 5741575"/>
              <a:gd name="connsiteY46" fmla="*/ 370573 h 955271"/>
              <a:gd name="connsiteX47" fmla="*/ 3095010 w 5741575"/>
              <a:gd name="connsiteY47" fmla="*/ 332454 h 955271"/>
              <a:gd name="connsiteX48" fmla="*/ 3148998 w 5741575"/>
              <a:gd name="connsiteY48" fmla="*/ 315286 h 955271"/>
              <a:gd name="connsiteX49" fmla="*/ 3195264 w 5741575"/>
              <a:gd name="connsiteY49" fmla="*/ 293158 h 955271"/>
              <a:gd name="connsiteX50" fmla="*/ 3373785 w 5741575"/>
              <a:gd name="connsiteY50" fmla="*/ 255680 h 955271"/>
              <a:gd name="connsiteX51" fmla="*/ 3493851 w 5741575"/>
              <a:gd name="connsiteY51" fmla="*/ 240255 h 955271"/>
              <a:gd name="connsiteX52" fmla="*/ 3537470 w 5741575"/>
              <a:gd name="connsiteY52" fmla="*/ 241867 h 955271"/>
              <a:gd name="connsiteX53" fmla="*/ 3610489 w 5741575"/>
              <a:gd name="connsiteY53" fmla="*/ 244128 h 955271"/>
              <a:gd name="connsiteX54" fmla="*/ 3667539 w 5741575"/>
              <a:gd name="connsiteY54" fmla="*/ 263271 h 955271"/>
              <a:gd name="connsiteX55" fmla="*/ 3727614 w 5741575"/>
              <a:gd name="connsiteY55" fmla="*/ 258245 h 955271"/>
              <a:gd name="connsiteX56" fmla="*/ 3738369 w 5741575"/>
              <a:gd name="connsiteY56" fmla="*/ 234506 h 955271"/>
              <a:gd name="connsiteX57" fmla="*/ 3803670 w 5741575"/>
              <a:gd name="connsiteY57" fmla="*/ 236457 h 955271"/>
              <a:gd name="connsiteX58" fmla="*/ 3903080 w 5741575"/>
              <a:gd name="connsiteY58" fmla="*/ 241890 h 955271"/>
              <a:gd name="connsiteX59" fmla="*/ 4114838 w 5741575"/>
              <a:gd name="connsiteY59" fmla="*/ 238165 h 955271"/>
              <a:gd name="connsiteX60" fmla="*/ 4271023 w 5741575"/>
              <a:gd name="connsiteY60" fmla="*/ 241959 h 955271"/>
              <a:gd name="connsiteX61" fmla="*/ 4367397 w 5741575"/>
              <a:gd name="connsiteY61" fmla="*/ 271442 h 955271"/>
              <a:gd name="connsiteX62" fmla="*/ 4495366 w 5741575"/>
              <a:gd name="connsiteY62" fmla="*/ 271618 h 955271"/>
              <a:gd name="connsiteX63" fmla="*/ 4517347 w 5741575"/>
              <a:gd name="connsiteY63" fmla="*/ 275639 h 955271"/>
              <a:gd name="connsiteX64" fmla="*/ 4546116 w 5741575"/>
              <a:gd name="connsiteY64" fmla="*/ 268568 h 955271"/>
              <a:gd name="connsiteX65" fmla="*/ 4661259 w 5741575"/>
              <a:gd name="connsiteY65" fmla="*/ 238966 h 955271"/>
              <a:gd name="connsiteX66" fmla="*/ 4750403 w 5741575"/>
              <a:gd name="connsiteY66" fmla="*/ 204364 h 955271"/>
              <a:gd name="connsiteX67" fmla="*/ 4867614 w 5741575"/>
              <a:gd name="connsiteY67" fmla="*/ 208668 h 955271"/>
              <a:gd name="connsiteX68" fmla="*/ 4937036 w 5741575"/>
              <a:gd name="connsiteY68" fmla="*/ 195446 h 955271"/>
              <a:gd name="connsiteX69" fmla="*/ 5067740 w 5741575"/>
              <a:gd name="connsiteY69" fmla="*/ 172293 h 955271"/>
              <a:gd name="connsiteX70" fmla="*/ 5200247 w 5741575"/>
              <a:gd name="connsiteY70" fmla="*/ 142695 h 955271"/>
              <a:gd name="connsiteX71" fmla="*/ 5276878 w 5741575"/>
              <a:gd name="connsiteY71" fmla="*/ 125833 h 955271"/>
              <a:gd name="connsiteX72" fmla="*/ 5418472 w 5741575"/>
              <a:gd name="connsiteY72" fmla="*/ 89163 h 955271"/>
              <a:gd name="connsiteX73" fmla="*/ 5482354 w 5741575"/>
              <a:gd name="connsiteY73" fmla="*/ 69470 h 955271"/>
              <a:gd name="connsiteX74" fmla="*/ 5583280 w 5741575"/>
              <a:gd name="connsiteY74" fmla="*/ 49787 h 955271"/>
              <a:gd name="connsiteX75" fmla="*/ 5613766 w 5741575"/>
              <a:gd name="connsiteY75" fmla="*/ 41855 h 955271"/>
              <a:gd name="connsiteX76" fmla="*/ 5684952 w 5741575"/>
              <a:gd name="connsiteY76" fmla="*/ 26088 h 955271"/>
              <a:gd name="connsiteX77" fmla="*/ 5741575 w 5741575"/>
              <a:gd name="connsiteY77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6314 w 5741575"/>
              <a:gd name="connsiteY22" fmla="*/ 722473 h 955271"/>
              <a:gd name="connsiteX23" fmla="*/ 1278773 w 5741575"/>
              <a:gd name="connsiteY23" fmla="*/ 711503 h 955271"/>
              <a:gd name="connsiteX24" fmla="*/ 1317691 w 5741575"/>
              <a:gd name="connsiteY24" fmla="*/ 708529 h 955271"/>
              <a:gd name="connsiteX25" fmla="*/ 1360404 w 5741575"/>
              <a:gd name="connsiteY25" fmla="*/ 675922 h 955271"/>
              <a:gd name="connsiteX26" fmla="*/ 1412292 w 5741575"/>
              <a:gd name="connsiteY26" fmla="*/ 670793 h 955271"/>
              <a:gd name="connsiteX27" fmla="*/ 1494753 w 5741575"/>
              <a:gd name="connsiteY27" fmla="*/ 644686 h 955271"/>
              <a:gd name="connsiteX28" fmla="*/ 1616217 w 5741575"/>
              <a:gd name="connsiteY28" fmla="*/ 622107 h 955271"/>
              <a:gd name="connsiteX29" fmla="*/ 1710928 w 5741575"/>
              <a:gd name="connsiteY29" fmla="*/ 600666 h 955271"/>
              <a:gd name="connsiteX30" fmla="*/ 1743718 w 5741575"/>
              <a:gd name="connsiteY30" fmla="*/ 584327 h 955271"/>
              <a:gd name="connsiteX31" fmla="*/ 1873778 w 5741575"/>
              <a:gd name="connsiteY31" fmla="*/ 530130 h 955271"/>
              <a:gd name="connsiteX32" fmla="*/ 1988411 w 5741575"/>
              <a:gd name="connsiteY32" fmla="*/ 491599 h 955271"/>
              <a:gd name="connsiteX33" fmla="*/ 2085507 w 5741575"/>
              <a:gd name="connsiteY33" fmla="*/ 498527 h 955271"/>
              <a:gd name="connsiteX34" fmla="*/ 2090767 w 5741575"/>
              <a:gd name="connsiteY34" fmla="*/ 490616 h 955271"/>
              <a:gd name="connsiteX35" fmla="*/ 2151143 w 5741575"/>
              <a:gd name="connsiteY35" fmla="*/ 478332 h 955271"/>
              <a:gd name="connsiteX36" fmla="*/ 2378710 w 5741575"/>
              <a:gd name="connsiteY36" fmla="*/ 477570 h 955271"/>
              <a:gd name="connsiteX37" fmla="*/ 2496256 w 5741575"/>
              <a:gd name="connsiteY37" fmla="*/ 452396 h 955271"/>
              <a:gd name="connsiteX38" fmla="*/ 2535387 w 5741575"/>
              <a:gd name="connsiteY38" fmla="*/ 436645 h 955271"/>
              <a:gd name="connsiteX39" fmla="*/ 2601109 w 5741575"/>
              <a:gd name="connsiteY39" fmla="*/ 410678 h 955271"/>
              <a:gd name="connsiteX40" fmla="*/ 2643855 w 5741575"/>
              <a:gd name="connsiteY40" fmla="*/ 374482 h 955271"/>
              <a:gd name="connsiteX41" fmla="*/ 2657726 w 5741575"/>
              <a:gd name="connsiteY41" fmla="*/ 365841 h 955271"/>
              <a:gd name="connsiteX42" fmla="*/ 2717296 w 5741575"/>
              <a:gd name="connsiteY42" fmla="*/ 362282 h 955271"/>
              <a:gd name="connsiteX43" fmla="*/ 2777227 w 5741575"/>
              <a:gd name="connsiteY43" fmla="*/ 368972 h 955271"/>
              <a:gd name="connsiteX44" fmla="*/ 2824768 w 5741575"/>
              <a:gd name="connsiteY44" fmla="*/ 361652 h 955271"/>
              <a:gd name="connsiteX45" fmla="*/ 2885545 w 5741575"/>
              <a:gd name="connsiteY45" fmla="*/ 372818 h 955271"/>
              <a:gd name="connsiteX46" fmla="*/ 3009558 w 5741575"/>
              <a:gd name="connsiteY46" fmla="*/ 370573 h 955271"/>
              <a:gd name="connsiteX47" fmla="*/ 3095010 w 5741575"/>
              <a:gd name="connsiteY47" fmla="*/ 332454 h 955271"/>
              <a:gd name="connsiteX48" fmla="*/ 3148998 w 5741575"/>
              <a:gd name="connsiteY48" fmla="*/ 315286 h 955271"/>
              <a:gd name="connsiteX49" fmla="*/ 3195264 w 5741575"/>
              <a:gd name="connsiteY49" fmla="*/ 293158 h 955271"/>
              <a:gd name="connsiteX50" fmla="*/ 3373785 w 5741575"/>
              <a:gd name="connsiteY50" fmla="*/ 255680 h 955271"/>
              <a:gd name="connsiteX51" fmla="*/ 3493851 w 5741575"/>
              <a:gd name="connsiteY51" fmla="*/ 240255 h 955271"/>
              <a:gd name="connsiteX52" fmla="*/ 3537470 w 5741575"/>
              <a:gd name="connsiteY52" fmla="*/ 241867 h 955271"/>
              <a:gd name="connsiteX53" fmla="*/ 3610489 w 5741575"/>
              <a:gd name="connsiteY53" fmla="*/ 244128 h 955271"/>
              <a:gd name="connsiteX54" fmla="*/ 3667539 w 5741575"/>
              <a:gd name="connsiteY54" fmla="*/ 263271 h 955271"/>
              <a:gd name="connsiteX55" fmla="*/ 3727614 w 5741575"/>
              <a:gd name="connsiteY55" fmla="*/ 258245 h 955271"/>
              <a:gd name="connsiteX56" fmla="*/ 3738369 w 5741575"/>
              <a:gd name="connsiteY56" fmla="*/ 234506 h 955271"/>
              <a:gd name="connsiteX57" fmla="*/ 3803670 w 5741575"/>
              <a:gd name="connsiteY57" fmla="*/ 236457 h 955271"/>
              <a:gd name="connsiteX58" fmla="*/ 3903080 w 5741575"/>
              <a:gd name="connsiteY58" fmla="*/ 241890 h 955271"/>
              <a:gd name="connsiteX59" fmla="*/ 4114838 w 5741575"/>
              <a:gd name="connsiteY59" fmla="*/ 238165 h 955271"/>
              <a:gd name="connsiteX60" fmla="*/ 4271023 w 5741575"/>
              <a:gd name="connsiteY60" fmla="*/ 241959 h 955271"/>
              <a:gd name="connsiteX61" fmla="*/ 4367397 w 5741575"/>
              <a:gd name="connsiteY61" fmla="*/ 271442 h 955271"/>
              <a:gd name="connsiteX62" fmla="*/ 4495366 w 5741575"/>
              <a:gd name="connsiteY62" fmla="*/ 271618 h 955271"/>
              <a:gd name="connsiteX63" fmla="*/ 4517347 w 5741575"/>
              <a:gd name="connsiteY63" fmla="*/ 275639 h 955271"/>
              <a:gd name="connsiteX64" fmla="*/ 4546116 w 5741575"/>
              <a:gd name="connsiteY64" fmla="*/ 268568 h 955271"/>
              <a:gd name="connsiteX65" fmla="*/ 4661259 w 5741575"/>
              <a:gd name="connsiteY65" fmla="*/ 238966 h 955271"/>
              <a:gd name="connsiteX66" fmla="*/ 4750403 w 5741575"/>
              <a:gd name="connsiteY66" fmla="*/ 204364 h 955271"/>
              <a:gd name="connsiteX67" fmla="*/ 4867614 w 5741575"/>
              <a:gd name="connsiteY67" fmla="*/ 208668 h 955271"/>
              <a:gd name="connsiteX68" fmla="*/ 4937036 w 5741575"/>
              <a:gd name="connsiteY68" fmla="*/ 195446 h 955271"/>
              <a:gd name="connsiteX69" fmla="*/ 5067740 w 5741575"/>
              <a:gd name="connsiteY69" fmla="*/ 172293 h 955271"/>
              <a:gd name="connsiteX70" fmla="*/ 5200247 w 5741575"/>
              <a:gd name="connsiteY70" fmla="*/ 142695 h 955271"/>
              <a:gd name="connsiteX71" fmla="*/ 5276878 w 5741575"/>
              <a:gd name="connsiteY71" fmla="*/ 125833 h 955271"/>
              <a:gd name="connsiteX72" fmla="*/ 5418472 w 5741575"/>
              <a:gd name="connsiteY72" fmla="*/ 89163 h 955271"/>
              <a:gd name="connsiteX73" fmla="*/ 5482354 w 5741575"/>
              <a:gd name="connsiteY73" fmla="*/ 69470 h 955271"/>
              <a:gd name="connsiteX74" fmla="*/ 5583280 w 5741575"/>
              <a:gd name="connsiteY74" fmla="*/ 49787 h 955271"/>
              <a:gd name="connsiteX75" fmla="*/ 5613766 w 5741575"/>
              <a:gd name="connsiteY75" fmla="*/ 41855 h 955271"/>
              <a:gd name="connsiteX76" fmla="*/ 5684952 w 5741575"/>
              <a:gd name="connsiteY76" fmla="*/ 26088 h 955271"/>
              <a:gd name="connsiteX77" fmla="*/ 5741575 w 5741575"/>
              <a:gd name="connsiteY77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6314 w 5741575"/>
              <a:gd name="connsiteY22" fmla="*/ 722473 h 955271"/>
              <a:gd name="connsiteX23" fmla="*/ 1278773 w 5741575"/>
              <a:gd name="connsiteY23" fmla="*/ 711503 h 955271"/>
              <a:gd name="connsiteX24" fmla="*/ 1317691 w 5741575"/>
              <a:gd name="connsiteY24" fmla="*/ 708529 h 955271"/>
              <a:gd name="connsiteX25" fmla="*/ 1360404 w 5741575"/>
              <a:gd name="connsiteY25" fmla="*/ 675922 h 955271"/>
              <a:gd name="connsiteX26" fmla="*/ 1412292 w 5741575"/>
              <a:gd name="connsiteY26" fmla="*/ 670793 h 955271"/>
              <a:gd name="connsiteX27" fmla="*/ 1494753 w 5741575"/>
              <a:gd name="connsiteY27" fmla="*/ 644686 h 955271"/>
              <a:gd name="connsiteX28" fmla="*/ 1616217 w 5741575"/>
              <a:gd name="connsiteY28" fmla="*/ 622107 h 955271"/>
              <a:gd name="connsiteX29" fmla="*/ 1710928 w 5741575"/>
              <a:gd name="connsiteY29" fmla="*/ 600666 h 955271"/>
              <a:gd name="connsiteX30" fmla="*/ 1743718 w 5741575"/>
              <a:gd name="connsiteY30" fmla="*/ 584327 h 955271"/>
              <a:gd name="connsiteX31" fmla="*/ 1873778 w 5741575"/>
              <a:gd name="connsiteY31" fmla="*/ 530130 h 955271"/>
              <a:gd name="connsiteX32" fmla="*/ 1988411 w 5741575"/>
              <a:gd name="connsiteY32" fmla="*/ 491599 h 955271"/>
              <a:gd name="connsiteX33" fmla="*/ 2085507 w 5741575"/>
              <a:gd name="connsiteY33" fmla="*/ 498527 h 955271"/>
              <a:gd name="connsiteX34" fmla="*/ 2090767 w 5741575"/>
              <a:gd name="connsiteY34" fmla="*/ 490616 h 955271"/>
              <a:gd name="connsiteX35" fmla="*/ 2151143 w 5741575"/>
              <a:gd name="connsiteY35" fmla="*/ 478332 h 955271"/>
              <a:gd name="connsiteX36" fmla="*/ 2378710 w 5741575"/>
              <a:gd name="connsiteY36" fmla="*/ 477570 h 955271"/>
              <a:gd name="connsiteX37" fmla="*/ 2496256 w 5741575"/>
              <a:gd name="connsiteY37" fmla="*/ 452396 h 955271"/>
              <a:gd name="connsiteX38" fmla="*/ 2535387 w 5741575"/>
              <a:gd name="connsiteY38" fmla="*/ 436645 h 955271"/>
              <a:gd name="connsiteX39" fmla="*/ 2601109 w 5741575"/>
              <a:gd name="connsiteY39" fmla="*/ 410678 h 955271"/>
              <a:gd name="connsiteX40" fmla="*/ 2643855 w 5741575"/>
              <a:gd name="connsiteY40" fmla="*/ 374482 h 955271"/>
              <a:gd name="connsiteX41" fmla="*/ 2657726 w 5741575"/>
              <a:gd name="connsiteY41" fmla="*/ 365841 h 955271"/>
              <a:gd name="connsiteX42" fmla="*/ 2717296 w 5741575"/>
              <a:gd name="connsiteY42" fmla="*/ 362282 h 955271"/>
              <a:gd name="connsiteX43" fmla="*/ 2777227 w 5741575"/>
              <a:gd name="connsiteY43" fmla="*/ 368972 h 955271"/>
              <a:gd name="connsiteX44" fmla="*/ 2824768 w 5741575"/>
              <a:gd name="connsiteY44" fmla="*/ 361652 h 955271"/>
              <a:gd name="connsiteX45" fmla="*/ 2885545 w 5741575"/>
              <a:gd name="connsiteY45" fmla="*/ 372818 h 955271"/>
              <a:gd name="connsiteX46" fmla="*/ 3009558 w 5741575"/>
              <a:gd name="connsiteY46" fmla="*/ 370573 h 955271"/>
              <a:gd name="connsiteX47" fmla="*/ 3095010 w 5741575"/>
              <a:gd name="connsiteY47" fmla="*/ 332454 h 955271"/>
              <a:gd name="connsiteX48" fmla="*/ 3148998 w 5741575"/>
              <a:gd name="connsiteY48" fmla="*/ 315286 h 955271"/>
              <a:gd name="connsiteX49" fmla="*/ 3195264 w 5741575"/>
              <a:gd name="connsiteY49" fmla="*/ 293158 h 955271"/>
              <a:gd name="connsiteX50" fmla="*/ 3373785 w 5741575"/>
              <a:gd name="connsiteY50" fmla="*/ 255680 h 955271"/>
              <a:gd name="connsiteX51" fmla="*/ 3493851 w 5741575"/>
              <a:gd name="connsiteY51" fmla="*/ 240255 h 955271"/>
              <a:gd name="connsiteX52" fmla="*/ 3537470 w 5741575"/>
              <a:gd name="connsiteY52" fmla="*/ 241867 h 955271"/>
              <a:gd name="connsiteX53" fmla="*/ 3610489 w 5741575"/>
              <a:gd name="connsiteY53" fmla="*/ 244128 h 955271"/>
              <a:gd name="connsiteX54" fmla="*/ 3667539 w 5741575"/>
              <a:gd name="connsiteY54" fmla="*/ 263271 h 955271"/>
              <a:gd name="connsiteX55" fmla="*/ 3727614 w 5741575"/>
              <a:gd name="connsiteY55" fmla="*/ 258245 h 955271"/>
              <a:gd name="connsiteX56" fmla="*/ 3738369 w 5741575"/>
              <a:gd name="connsiteY56" fmla="*/ 234506 h 955271"/>
              <a:gd name="connsiteX57" fmla="*/ 3803670 w 5741575"/>
              <a:gd name="connsiteY57" fmla="*/ 236457 h 955271"/>
              <a:gd name="connsiteX58" fmla="*/ 3903080 w 5741575"/>
              <a:gd name="connsiteY58" fmla="*/ 241890 h 955271"/>
              <a:gd name="connsiteX59" fmla="*/ 4114838 w 5741575"/>
              <a:gd name="connsiteY59" fmla="*/ 238165 h 955271"/>
              <a:gd name="connsiteX60" fmla="*/ 4271023 w 5741575"/>
              <a:gd name="connsiteY60" fmla="*/ 241959 h 955271"/>
              <a:gd name="connsiteX61" fmla="*/ 4367397 w 5741575"/>
              <a:gd name="connsiteY61" fmla="*/ 271442 h 955271"/>
              <a:gd name="connsiteX62" fmla="*/ 4495366 w 5741575"/>
              <a:gd name="connsiteY62" fmla="*/ 271618 h 955271"/>
              <a:gd name="connsiteX63" fmla="*/ 4517347 w 5741575"/>
              <a:gd name="connsiteY63" fmla="*/ 275639 h 955271"/>
              <a:gd name="connsiteX64" fmla="*/ 4546116 w 5741575"/>
              <a:gd name="connsiteY64" fmla="*/ 268568 h 955271"/>
              <a:gd name="connsiteX65" fmla="*/ 4661259 w 5741575"/>
              <a:gd name="connsiteY65" fmla="*/ 238966 h 955271"/>
              <a:gd name="connsiteX66" fmla="*/ 4750403 w 5741575"/>
              <a:gd name="connsiteY66" fmla="*/ 204364 h 955271"/>
              <a:gd name="connsiteX67" fmla="*/ 4867614 w 5741575"/>
              <a:gd name="connsiteY67" fmla="*/ 208668 h 955271"/>
              <a:gd name="connsiteX68" fmla="*/ 4937036 w 5741575"/>
              <a:gd name="connsiteY68" fmla="*/ 195446 h 955271"/>
              <a:gd name="connsiteX69" fmla="*/ 5067740 w 5741575"/>
              <a:gd name="connsiteY69" fmla="*/ 172293 h 955271"/>
              <a:gd name="connsiteX70" fmla="*/ 5200247 w 5741575"/>
              <a:gd name="connsiteY70" fmla="*/ 142695 h 955271"/>
              <a:gd name="connsiteX71" fmla="*/ 5276878 w 5741575"/>
              <a:gd name="connsiteY71" fmla="*/ 125833 h 955271"/>
              <a:gd name="connsiteX72" fmla="*/ 5373216 w 5741575"/>
              <a:gd name="connsiteY72" fmla="*/ 102777 h 955271"/>
              <a:gd name="connsiteX73" fmla="*/ 5482354 w 5741575"/>
              <a:gd name="connsiteY73" fmla="*/ 69470 h 955271"/>
              <a:gd name="connsiteX74" fmla="*/ 5583280 w 5741575"/>
              <a:gd name="connsiteY74" fmla="*/ 49787 h 955271"/>
              <a:gd name="connsiteX75" fmla="*/ 5613766 w 5741575"/>
              <a:gd name="connsiteY75" fmla="*/ 41855 h 955271"/>
              <a:gd name="connsiteX76" fmla="*/ 5684952 w 5741575"/>
              <a:gd name="connsiteY76" fmla="*/ 26088 h 955271"/>
              <a:gd name="connsiteX77" fmla="*/ 5741575 w 5741575"/>
              <a:gd name="connsiteY77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6314 w 5741575"/>
              <a:gd name="connsiteY22" fmla="*/ 722473 h 955271"/>
              <a:gd name="connsiteX23" fmla="*/ 1278773 w 5741575"/>
              <a:gd name="connsiteY23" fmla="*/ 711503 h 955271"/>
              <a:gd name="connsiteX24" fmla="*/ 1317691 w 5741575"/>
              <a:gd name="connsiteY24" fmla="*/ 708529 h 955271"/>
              <a:gd name="connsiteX25" fmla="*/ 1360404 w 5741575"/>
              <a:gd name="connsiteY25" fmla="*/ 675922 h 955271"/>
              <a:gd name="connsiteX26" fmla="*/ 1412292 w 5741575"/>
              <a:gd name="connsiteY26" fmla="*/ 670793 h 955271"/>
              <a:gd name="connsiteX27" fmla="*/ 1494753 w 5741575"/>
              <a:gd name="connsiteY27" fmla="*/ 644686 h 955271"/>
              <a:gd name="connsiteX28" fmla="*/ 1616217 w 5741575"/>
              <a:gd name="connsiteY28" fmla="*/ 622107 h 955271"/>
              <a:gd name="connsiteX29" fmla="*/ 1710928 w 5741575"/>
              <a:gd name="connsiteY29" fmla="*/ 600666 h 955271"/>
              <a:gd name="connsiteX30" fmla="*/ 1743718 w 5741575"/>
              <a:gd name="connsiteY30" fmla="*/ 584327 h 955271"/>
              <a:gd name="connsiteX31" fmla="*/ 1873778 w 5741575"/>
              <a:gd name="connsiteY31" fmla="*/ 530130 h 955271"/>
              <a:gd name="connsiteX32" fmla="*/ 1988411 w 5741575"/>
              <a:gd name="connsiteY32" fmla="*/ 491599 h 955271"/>
              <a:gd name="connsiteX33" fmla="*/ 2085507 w 5741575"/>
              <a:gd name="connsiteY33" fmla="*/ 498527 h 955271"/>
              <a:gd name="connsiteX34" fmla="*/ 2090767 w 5741575"/>
              <a:gd name="connsiteY34" fmla="*/ 490616 h 955271"/>
              <a:gd name="connsiteX35" fmla="*/ 2151143 w 5741575"/>
              <a:gd name="connsiteY35" fmla="*/ 478332 h 955271"/>
              <a:gd name="connsiteX36" fmla="*/ 2378710 w 5741575"/>
              <a:gd name="connsiteY36" fmla="*/ 477570 h 955271"/>
              <a:gd name="connsiteX37" fmla="*/ 2496256 w 5741575"/>
              <a:gd name="connsiteY37" fmla="*/ 452396 h 955271"/>
              <a:gd name="connsiteX38" fmla="*/ 2535387 w 5741575"/>
              <a:gd name="connsiteY38" fmla="*/ 436645 h 955271"/>
              <a:gd name="connsiteX39" fmla="*/ 2601109 w 5741575"/>
              <a:gd name="connsiteY39" fmla="*/ 410678 h 955271"/>
              <a:gd name="connsiteX40" fmla="*/ 2643855 w 5741575"/>
              <a:gd name="connsiteY40" fmla="*/ 374482 h 955271"/>
              <a:gd name="connsiteX41" fmla="*/ 2657726 w 5741575"/>
              <a:gd name="connsiteY41" fmla="*/ 365841 h 955271"/>
              <a:gd name="connsiteX42" fmla="*/ 2717296 w 5741575"/>
              <a:gd name="connsiteY42" fmla="*/ 362282 h 955271"/>
              <a:gd name="connsiteX43" fmla="*/ 2777227 w 5741575"/>
              <a:gd name="connsiteY43" fmla="*/ 368972 h 955271"/>
              <a:gd name="connsiteX44" fmla="*/ 2824768 w 5741575"/>
              <a:gd name="connsiteY44" fmla="*/ 361652 h 955271"/>
              <a:gd name="connsiteX45" fmla="*/ 2885545 w 5741575"/>
              <a:gd name="connsiteY45" fmla="*/ 372818 h 955271"/>
              <a:gd name="connsiteX46" fmla="*/ 3009558 w 5741575"/>
              <a:gd name="connsiteY46" fmla="*/ 370573 h 955271"/>
              <a:gd name="connsiteX47" fmla="*/ 3095010 w 5741575"/>
              <a:gd name="connsiteY47" fmla="*/ 332454 h 955271"/>
              <a:gd name="connsiteX48" fmla="*/ 3148998 w 5741575"/>
              <a:gd name="connsiteY48" fmla="*/ 315286 h 955271"/>
              <a:gd name="connsiteX49" fmla="*/ 3195264 w 5741575"/>
              <a:gd name="connsiteY49" fmla="*/ 293158 h 955271"/>
              <a:gd name="connsiteX50" fmla="*/ 3373785 w 5741575"/>
              <a:gd name="connsiteY50" fmla="*/ 255680 h 955271"/>
              <a:gd name="connsiteX51" fmla="*/ 3493851 w 5741575"/>
              <a:gd name="connsiteY51" fmla="*/ 240255 h 955271"/>
              <a:gd name="connsiteX52" fmla="*/ 3537470 w 5741575"/>
              <a:gd name="connsiteY52" fmla="*/ 241867 h 955271"/>
              <a:gd name="connsiteX53" fmla="*/ 3610489 w 5741575"/>
              <a:gd name="connsiteY53" fmla="*/ 244128 h 955271"/>
              <a:gd name="connsiteX54" fmla="*/ 3667539 w 5741575"/>
              <a:gd name="connsiteY54" fmla="*/ 263271 h 955271"/>
              <a:gd name="connsiteX55" fmla="*/ 3727614 w 5741575"/>
              <a:gd name="connsiteY55" fmla="*/ 258245 h 955271"/>
              <a:gd name="connsiteX56" fmla="*/ 3738369 w 5741575"/>
              <a:gd name="connsiteY56" fmla="*/ 234506 h 955271"/>
              <a:gd name="connsiteX57" fmla="*/ 3803670 w 5741575"/>
              <a:gd name="connsiteY57" fmla="*/ 236457 h 955271"/>
              <a:gd name="connsiteX58" fmla="*/ 3903080 w 5741575"/>
              <a:gd name="connsiteY58" fmla="*/ 241890 h 955271"/>
              <a:gd name="connsiteX59" fmla="*/ 4114838 w 5741575"/>
              <a:gd name="connsiteY59" fmla="*/ 238165 h 955271"/>
              <a:gd name="connsiteX60" fmla="*/ 4271023 w 5741575"/>
              <a:gd name="connsiteY60" fmla="*/ 241959 h 955271"/>
              <a:gd name="connsiteX61" fmla="*/ 4367397 w 5741575"/>
              <a:gd name="connsiteY61" fmla="*/ 271442 h 955271"/>
              <a:gd name="connsiteX62" fmla="*/ 4495366 w 5741575"/>
              <a:gd name="connsiteY62" fmla="*/ 271618 h 955271"/>
              <a:gd name="connsiteX63" fmla="*/ 4517347 w 5741575"/>
              <a:gd name="connsiteY63" fmla="*/ 275639 h 955271"/>
              <a:gd name="connsiteX64" fmla="*/ 4546116 w 5741575"/>
              <a:gd name="connsiteY64" fmla="*/ 268568 h 955271"/>
              <a:gd name="connsiteX65" fmla="*/ 4661259 w 5741575"/>
              <a:gd name="connsiteY65" fmla="*/ 238966 h 955271"/>
              <a:gd name="connsiteX66" fmla="*/ 4750403 w 5741575"/>
              <a:gd name="connsiteY66" fmla="*/ 204364 h 955271"/>
              <a:gd name="connsiteX67" fmla="*/ 4867614 w 5741575"/>
              <a:gd name="connsiteY67" fmla="*/ 208668 h 955271"/>
              <a:gd name="connsiteX68" fmla="*/ 4937036 w 5741575"/>
              <a:gd name="connsiteY68" fmla="*/ 195446 h 955271"/>
              <a:gd name="connsiteX69" fmla="*/ 5067740 w 5741575"/>
              <a:gd name="connsiteY69" fmla="*/ 172293 h 955271"/>
              <a:gd name="connsiteX70" fmla="*/ 5200247 w 5741575"/>
              <a:gd name="connsiteY70" fmla="*/ 142695 h 955271"/>
              <a:gd name="connsiteX71" fmla="*/ 5276878 w 5741575"/>
              <a:gd name="connsiteY71" fmla="*/ 125833 h 955271"/>
              <a:gd name="connsiteX72" fmla="*/ 5373216 w 5741575"/>
              <a:gd name="connsiteY72" fmla="*/ 111851 h 955271"/>
              <a:gd name="connsiteX73" fmla="*/ 5482354 w 5741575"/>
              <a:gd name="connsiteY73" fmla="*/ 69470 h 955271"/>
              <a:gd name="connsiteX74" fmla="*/ 5583280 w 5741575"/>
              <a:gd name="connsiteY74" fmla="*/ 49787 h 955271"/>
              <a:gd name="connsiteX75" fmla="*/ 5613766 w 5741575"/>
              <a:gd name="connsiteY75" fmla="*/ 41855 h 955271"/>
              <a:gd name="connsiteX76" fmla="*/ 5684952 w 5741575"/>
              <a:gd name="connsiteY76" fmla="*/ 26088 h 955271"/>
              <a:gd name="connsiteX77" fmla="*/ 5741575 w 5741575"/>
              <a:gd name="connsiteY77" fmla="*/ 0 h 955271"/>
              <a:gd name="connsiteX0" fmla="*/ 5741575 w 5741575"/>
              <a:gd name="connsiteY0" fmla="*/ 0 h 955271"/>
              <a:gd name="connsiteX1" fmla="*/ 5741575 w 5741575"/>
              <a:gd name="connsiteY1" fmla="*/ 955271 h 955271"/>
              <a:gd name="connsiteX2" fmla="*/ 0 w 5741575"/>
              <a:gd name="connsiteY2" fmla="*/ 955271 h 955271"/>
              <a:gd name="connsiteX3" fmla="*/ 8558 w 5741575"/>
              <a:gd name="connsiteY3" fmla="*/ 953971 h 955271"/>
              <a:gd name="connsiteX4" fmla="*/ 16894 w 5741575"/>
              <a:gd name="connsiteY4" fmla="*/ 953847 h 955271"/>
              <a:gd name="connsiteX5" fmla="*/ 28156 w 5741575"/>
              <a:gd name="connsiteY5" fmla="*/ 951374 h 955271"/>
              <a:gd name="connsiteX6" fmla="*/ 28293 w 5741575"/>
              <a:gd name="connsiteY6" fmla="*/ 950971 h 955271"/>
              <a:gd name="connsiteX7" fmla="*/ 59229 w 5741575"/>
              <a:gd name="connsiteY7" fmla="*/ 903950 h 955271"/>
              <a:gd name="connsiteX8" fmla="*/ 148657 w 5741575"/>
              <a:gd name="connsiteY8" fmla="*/ 898134 h 955271"/>
              <a:gd name="connsiteX9" fmla="*/ 174554 w 5741575"/>
              <a:gd name="connsiteY9" fmla="*/ 886351 h 955271"/>
              <a:gd name="connsiteX10" fmla="*/ 187633 w 5741575"/>
              <a:gd name="connsiteY10" fmla="*/ 878226 h 955271"/>
              <a:gd name="connsiteX11" fmla="*/ 187961 w 5741575"/>
              <a:gd name="connsiteY11" fmla="*/ 876538 h 955271"/>
              <a:gd name="connsiteX12" fmla="*/ 240501 w 5741575"/>
              <a:gd name="connsiteY12" fmla="*/ 873150 h 955271"/>
              <a:gd name="connsiteX13" fmla="*/ 246345 w 5741575"/>
              <a:gd name="connsiteY13" fmla="*/ 869942 h 955271"/>
              <a:gd name="connsiteX14" fmla="*/ 306299 w 5741575"/>
              <a:gd name="connsiteY14" fmla="*/ 873609 h 955271"/>
              <a:gd name="connsiteX15" fmla="*/ 331571 w 5741575"/>
              <a:gd name="connsiteY15" fmla="*/ 869866 h 955271"/>
              <a:gd name="connsiteX16" fmla="*/ 384157 w 5741575"/>
              <a:gd name="connsiteY16" fmla="*/ 867971 h 955271"/>
              <a:gd name="connsiteX17" fmla="*/ 477637 w 5741575"/>
              <a:gd name="connsiteY17" fmla="*/ 870334 h 955271"/>
              <a:gd name="connsiteX18" fmla="*/ 570239 w 5741575"/>
              <a:gd name="connsiteY18" fmla="*/ 829596 h 955271"/>
              <a:gd name="connsiteX19" fmla="*/ 772070 w 5741575"/>
              <a:gd name="connsiteY19" fmla="*/ 820296 h 955271"/>
              <a:gd name="connsiteX20" fmla="*/ 948872 w 5741575"/>
              <a:gd name="connsiteY20" fmla="*/ 772201 h 955271"/>
              <a:gd name="connsiteX21" fmla="*/ 1127089 w 5741575"/>
              <a:gd name="connsiteY21" fmla="*/ 746926 h 955271"/>
              <a:gd name="connsiteX22" fmla="*/ 1226314 w 5741575"/>
              <a:gd name="connsiteY22" fmla="*/ 722473 h 955271"/>
              <a:gd name="connsiteX23" fmla="*/ 1278773 w 5741575"/>
              <a:gd name="connsiteY23" fmla="*/ 711503 h 955271"/>
              <a:gd name="connsiteX24" fmla="*/ 1317691 w 5741575"/>
              <a:gd name="connsiteY24" fmla="*/ 708529 h 955271"/>
              <a:gd name="connsiteX25" fmla="*/ 1360404 w 5741575"/>
              <a:gd name="connsiteY25" fmla="*/ 675922 h 955271"/>
              <a:gd name="connsiteX26" fmla="*/ 1412292 w 5741575"/>
              <a:gd name="connsiteY26" fmla="*/ 670793 h 955271"/>
              <a:gd name="connsiteX27" fmla="*/ 1494753 w 5741575"/>
              <a:gd name="connsiteY27" fmla="*/ 644686 h 955271"/>
              <a:gd name="connsiteX28" fmla="*/ 1616217 w 5741575"/>
              <a:gd name="connsiteY28" fmla="*/ 622107 h 955271"/>
              <a:gd name="connsiteX29" fmla="*/ 1710928 w 5741575"/>
              <a:gd name="connsiteY29" fmla="*/ 600666 h 955271"/>
              <a:gd name="connsiteX30" fmla="*/ 1743718 w 5741575"/>
              <a:gd name="connsiteY30" fmla="*/ 584327 h 955271"/>
              <a:gd name="connsiteX31" fmla="*/ 1873778 w 5741575"/>
              <a:gd name="connsiteY31" fmla="*/ 530130 h 955271"/>
              <a:gd name="connsiteX32" fmla="*/ 1988411 w 5741575"/>
              <a:gd name="connsiteY32" fmla="*/ 491599 h 955271"/>
              <a:gd name="connsiteX33" fmla="*/ 2085507 w 5741575"/>
              <a:gd name="connsiteY33" fmla="*/ 498527 h 955271"/>
              <a:gd name="connsiteX34" fmla="*/ 2090767 w 5741575"/>
              <a:gd name="connsiteY34" fmla="*/ 490616 h 955271"/>
              <a:gd name="connsiteX35" fmla="*/ 2151143 w 5741575"/>
              <a:gd name="connsiteY35" fmla="*/ 478332 h 955271"/>
              <a:gd name="connsiteX36" fmla="*/ 2378710 w 5741575"/>
              <a:gd name="connsiteY36" fmla="*/ 477570 h 955271"/>
              <a:gd name="connsiteX37" fmla="*/ 2496256 w 5741575"/>
              <a:gd name="connsiteY37" fmla="*/ 452396 h 955271"/>
              <a:gd name="connsiteX38" fmla="*/ 2535387 w 5741575"/>
              <a:gd name="connsiteY38" fmla="*/ 436645 h 955271"/>
              <a:gd name="connsiteX39" fmla="*/ 2601109 w 5741575"/>
              <a:gd name="connsiteY39" fmla="*/ 410678 h 955271"/>
              <a:gd name="connsiteX40" fmla="*/ 2643855 w 5741575"/>
              <a:gd name="connsiteY40" fmla="*/ 374482 h 955271"/>
              <a:gd name="connsiteX41" fmla="*/ 2657726 w 5741575"/>
              <a:gd name="connsiteY41" fmla="*/ 365841 h 955271"/>
              <a:gd name="connsiteX42" fmla="*/ 2717296 w 5741575"/>
              <a:gd name="connsiteY42" fmla="*/ 362282 h 955271"/>
              <a:gd name="connsiteX43" fmla="*/ 2777227 w 5741575"/>
              <a:gd name="connsiteY43" fmla="*/ 368972 h 955271"/>
              <a:gd name="connsiteX44" fmla="*/ 2824768 w 5741575"/>
              <a:gd name="connsiteY44" fmla="*/ 361652 h 955271"/>
              <a:gd name="connsiteX45" fmla="*/ 2885545 w 5741575"/>
              <a:gd name="connsiteY45" fmla="*/ 372818 h 955271"/>
              <a:gd name="connsiteX46" fmla="*/ 3009558 w 5741575"/>
              <a:gd name="connsiteY46" fmla="*/ 370573 h 955271"/>
              <a:gd name="connsiteX47" fmla="*/ 3095010 w 5741575"/>
              <a:gd name="connsiteY47" fmla="*/ 332454 h 955271"/>
              <a:gd name="connsiteX48" fmla="*/ 3148998 w 5741575"/>
              <a:gd name="connsiteY48" fmla="*/ 315286 h 955271"/>
              <a:gd name="connsiteX49" fmla="*/ 3195264 w 5741575"/>
              <a:gd name="connsiteY49" fmla="*/ 293158 h 955271"/>
              <a:gd name="connsiteX50" fmla="*/ 3373785 w 5741575"/>
              <a:gd name="connsiteY50" fmla="*/ 255680 h 955271"/>
              <a:gd name="connsiteX51" fmla="*/ 3493851 w 5741575"/>
              <a:gd name="connsiteY51" fmla="*/ 240255 h 955271"/>
              <a:gd name="connsiteX52" fmla="*/ 3537470 w 5741575"/>
              <a:gd name="connsiteY52" fmla="*/ 241867 h 955271"/>
              <a:gd name="connsiteX53" fmla="*/ 3610489 w 5741575"/>
              <a:gd name="connsiteY53" fmla="*/ 244128 h 955271"/>
              <a:gd name="connsiteX54" fmla="*/ 3667539 w 5741575"/>
              <a:gd name="connsiteY54" fmla="*/ 263271 h 955271"/>
              <a:gd name="connsiteX55" fmla="*/ 3727614 w 5741575"/>
              <a:gd name="connsiteY55" fmla="*/ 258245 h 955271"/>
              <a:gd name="connsiteX56" fmla="*/ 3738369 w 5741575"/>
              <a:gd name="connsiteY56" fmla="*/ 234506 h 955271"/>
              <a:gd name="connsiteX57" fmla="*/ 3803670 w 5741575"/>
              <a:gd name="connsiteY57" fmla="*/ 236457 h 955271"/>
              <a:gd name="connsiteX58" fmla="*/ 3903080 w 5741575"/>
              <a:gd name="connsiteY58" fmla="*/ 241890 h 955271"/>
              <a:gd name="connsiteX59" fmla="*/ 4114838 w 5741575"/>
              <a:gd name="connsiteY59" fmla="*/ 238165 h 955271"/>
              <a:gd name="connsiteX60" fmla="*/ 4271023 w 5741575"/>
              <a:gd name="connsiteY60" fmla="*/ 241959 h 955271"/>
              <a:gd name="connsiteX61" fmla="*/ 4367397 w 5741575"/>
              <a:gd name="connsiteY61" fmla="*/ 271442 h 955271"/>
              <a:gd name="connsiteX62" fmla="*/ 4495366 w 5741575"/>
              <a:gd name="connsiteY62" fmla="*/ 271618 h 955271"/>
              <a:gd name="connsiteX63" fmla="*/ 4517347 w 5741575"/>
              <a:gd name="connsiteY63" fmla="*/ 275639 h 955271"/>
              <a:gd name="connsiteX64" fmla="*/ 4546116 w 5741575"/>
              <a:gd name="connsiteY64" fmla="*/ 268568 h 955271"/>
              <a:gd name="connsiteX65" fmla="*/ 4661259 w 5741575"/>
              <a:gd name="connsiteY65" fmla="*/ 238966 h 955271"/>
              <a:gd name="connsiteX66" fmla="*/ 4750403 w 5741575"/>
              <a:gd name="connsiteY66" fmla="*/ 204364 h 955271"/>
              <a:gd name="connsiteX67" fmla="*/ 4867614 w 5741575"/>
              <a:gd name="connsiteY67" fmla="*/ 208668 h 955271"/>
              <a:gd name="connsiteX68" fmla="*/ 4937036 w 5741575"/>
              <a:gd name="connsiteY68" fmla="*/ 195446 h 955271"/>
              <a:gd name="connsiteX69" fmla="*/ 5067740 w 5741575"/>
              <a:gd name="connsiteY69" fmla="*/ 172293 h 955271"/>
              <a:gd name="connsiteX70" fmla="*/ 5200247 w 5741575"/>
              <a:gd name="connsiteY70" fmla="*/ 142695 h 955271"/>
              <a:gd name="connsiteX71" fmla="*/ 5276878 w 5741575"/>
              <a:gd name="connsiteY71" fmla="*/ 125833 h 955271"/>
              <a:gd name="connsiteX72" fmla="*/ 5373216 w 5741575"/>
              <a:gd name="connsiteY72" fmla="*/ 111851 h 955271"/>
              <a:gd name="connsiteX73" fmla="*/ 5482354 w 5741575"/>
              <a:gd name="connsiteY73" fmla="*/ 69470 h 955271"/>
              <a:gd name="connsiteX74" fmla="*/ 5583280 w 5741575"/>
              <a:gd name="connsiteY74" fmla="*/ 49787 h 955271"/>
              <a:gd name="connsiteX75" fmla="*/ 5613766 w 5741575"/>
              <a:gd name="connsiteY75" fmla="*/ 41855 h 955271"/>
              <a:gd name="connsiteX76" fmla="*/ 5684952 w 5741575"/>
              <a:gd name="connsiteY76" fmla="*/ 26088 h 955271"/>
              <a:gd name="connsiteX77" fmla="*/ 5741575 w 5741575"/>
              <a:gd name="connsiteY77" fmla="*/ 0 h 955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5741575" h="955271">
                <a:moveTo>
                  <a:pt x="5741575" y="0"/>
                </a:moveTo>
                <a:lnTo>
                  <a:pt x="5741575" y="955271"/>
                </a:lnTo>
                <a:lnTo>
                  <a:pt x="0" y="955271"/>
                </a:lnTo>
                <a:lnTo>
                  <a:pt x="8558" y="953971"/>
                </a:lnTo>
                <a:lnTo>
                  <a:pt x="16894" y="953847"/>
                </a:lnTo>
                <a:cubicBezTo>
                  <a:pt x="22474" y="953361"/>
                  <a:pt x="25973" y="952524"/>
                  <a:pt x="28156" y="951374"/>
                </a:cubicBezTo>
                <a:cubicBezTo>
                  <a:pt x="28201" y="951240"/>
                  <a:pt x="28247" y="951105"/>
                  <a:pt x="28293" y="950971"/>
                </a:cubicBezTo>
                <a:lnTo>
                  <a:pt x="59229" y="903950"/>
                </a:lnTo>
                <a:cubicBezTo>
                  <a:pt x="79290" y="895144"/>
                  <a:pt x="126084" y="908630"/>
                  <a:pt x="148657" y="898134"/>
                </a:cubicBezTo>
                <a:cubicBezTo>
                  <a:pt x="172173" y="896348"/>
                  <a:pt x="191809" y="908449"/>
                  <a:pt x="174554" y="886351"/>
                </a:cubicBezTo>
                <a:cubicBezTo>
                  <a:pt x="182014" y="885083"/>
                  <a:pt x="185699" y="882087"/>
                  <a:pt x="187633" y="878226"/>
                </a:cubicBezTo>
                <a:cubicBezTo>
                  <a:pt x="187742" y="877663"/>
                  <a:pt x="187852" y="877101"/>
                  <a:pt x="187961" y="876538"/>
                </a:cubicBezTo>
                <a:lnTo>
                  <a:pt x="240501" y="873150"/>
                </a:lnTo>
                <a:lnTo>
                  <a:pt x="246345" y="869942"/>
                </a:lnTo>
                <a:lnTo>
                  <a:pt x="306299" y="873609"/>
                </a:lnTo>
                <a:cubicBezTo>
                  <a:pt x="312531" y="875279"/>
                  <a:pt x="320316" y="874896"/>
                  <a:pt x="331571" y="869866"/>
                </a:cubicBezTo>
                <a:lnTo>
                  <a:pt x="384157" y="867971"/>
                </a:lnTo>
                <a:lnTo>
                  <a:pt x="477637" y="870334"/>
                </a:lnTo>
                <a:cubicBezTo>
                  <a:pt x="485456" y="872042"/>
                  <a:pt x="563433" y="825458"/>
                  <a:pt x="570239" y="829596"/>
                </a:cubicBezTo>
                <a:cubicBezTo>
                  <a:pt x="641939" y="824282"/>
                  <a:pt x="685473" y="832029"/>
                  <a:pt x="772070" y="820296"/>
                </a:cubicBezTo>
                <a:cubicBezTo>
                  <a:pt x="833120" y="817018"/>
                  <a:pt x="871984" y="794388"/>
                  <a:pt x="948872" y="772201"/>
                </a:cubicBezTo>
                <a:cubicBezTo>
                  <a:pt x="1011630" y="801590"/>
                  <a:pt x="1039188" y="762914"/>
                  <a:pt x="1127089" y="746926"/>
                </a:cubicBezTo>
                <a:cubicBezTo>
                  <a:pt x="1186739" y="737882"/>
                  <a:pt x="1185110" y="732158"/>
                  <a:pt x="1226314" y="722473"/>
                </a:cubicBezTo>
                <a:cubicBezTo>
                  <a:pt x="1234331" y="718091"/>
                  <a:pt x="1271693" y="717214"/>
                  <a:pt x="1278773" y="711503"/>
                </a:cubicBezTo>
                <a:lnTo>
                  <a:pt x="1317691" y="708529"/>
                </a:lnTo>
                <a:lnTo>
                  <a:pt x="1360404" y="675922"/>
                </a:lnTo>
                <a:lnTo>
                  <a:pt x="1412292" y="670793"/>
                </a:lnTo>
                <a:lnTo>
                  <a:pt x="1494753" y="644686"/>
                </a:lnTo>
                <a:cubicBezTo>
                  <a:pt x="1542884" y="655944"/>
                  <a:pt x="1556151" y="606226"/>
                  <a:pt x="1616217" y="622107"/>
                </a:cubicBezTo>
                <a:cubicBezTo>
                  <a:pt x="1637755" y="624837"/>
                  <a:pt x="1701030" y="614257"/>
                  <a:pt x="1710928" y="600666"/>
                </a:cubicBezTo>
                <a:cubicBezTo>
                  <a:pt x="1723693" y="596072"/>
                  <a:pt x="1739861" y="597834"/>
                  <a:pt x="1743718" y="584327"/>
                </a:cubicBezTo>
                <a:cubicBezTo>
                  <a:pt x="1770860" y="572571"/>
                  <a:pt x="1832996" y="545585"/>
                  <a:pt x="1873778" y="530130"/>
                </a:cubicBezTo>
                <a:cubicBezTo>
                  <a:pt x="1902425" y="541995"/>
                  <a:pt x="1929013" y="504913"/>
                  <a:pt x="1988411" y="491599"/>
                </a:cubicBezTo>
                <a:cubicBezTo>
                  <a:pt x="2020077" y="505546"/>
                  <a:pt x="2028363" y="482381"/>
                  <a:pt x="2085507" y="498527"/>
                </a:cubicBezTo>
                <a:cubicBezTo>
                  <a:pt x="2086719" y="495769"/>
                  <a:pt x="2088490" y="493104"/>
                  <a:pt x="2090767" y="490616"/>
                </a:cubicBezTo>
                <a:cubicBezTo>
                  <a:pt x="2103992" y="476161"/>
                  <a:pt x="2131025" y="470659"/>
                  <a:pt x="2151143" y="478332"/>
                </a:cubicBezTo>
                <a:cubicBezTo>
                  <a:pt x="2240088" y="497642"/>
                  <a:pt x="2310118" y="483043"/>
                  <a:pt x="2378710" y="477570"/>
                </a:cubicBezTo>
                <a:cubicBezTo>
                  <a:pt x="2454975" y="467585"/>
                  <a:pt x="2391576" y="437831"/>
                  <a:pt x="2496256" y="452396"/>
                </a:cubicBezTo>
                <a:cubicBezTo>
                  <a:pt x="2501503" y="436899"/>
                  <a:pt x="2513119" y="433980"/>
                  <a:pt x="2535387" y="436645"/>
                </a:cubicBezTo>
                <a:cubicBezTo>
                  <a:pt x="2572084" y="430778"/>
                  <a:pt x="2557124" y="397207"/>
                  <a:pt x="2601109" y="410678"/>
                </a:cubicBezTo>
                <a:cubicBezTo>
                  <a:pt x="2588000" y="393616"/>
                  <a:pt x="2667428" y="390302"/>
                  <a:pt x="2643855" y="374482"/>
                </a:cubicBezTo>
                <a:cubicBezTo>
                  <a:pt x="2648277" y="369169"/>
                  <a:pt x="2645486" y="367874"/>
                  <a:pt x="2657726" y="365841"/>
                </a:cubicBezTo>
                <a:cubicBezTo>
                  <a:pt x="2669966" y="363808"/>
                  <a:pt x="2707566" y="363569"/>
                  <a:pt x="2717296" y="362282"/>
                </a:cubicBezTo>
                <a:lnTo>
                  <a:pt x="2777227" y="368972"/>
                </a:lnTo>
                <a:lnTo>
                  <a:pt x="2824768" y="361652"/>
                </a:lnTo>
                <a:lnTo>
                  <a:pt x="2885545" y="372818"/>
                </a:lnTo>
                <a:cubicBezTo>
                  <a:pt x="2905895" y="352581"/>
                  <a:pt x="2948591" y="377825"/>
                  <a:pt x="3009558" y="370573"/>
                </a:cubicBezTo>
                <a:cubicBezTo>
                  <a:pt x="3031640" y="347442"/>
                  <a:pt x="3050695" y="365935"/>
                  <a:pt x="3095010" y="332454"/>
                </a:cubicBezTo>
                <a:cubicBezTo>
                  <a:pt x="3097485" y="334582"/>
                  <a:pt x="3132289" y="321835"/>
                  <a:pt x="3148998" y="315286"/>
                </a:cubicBezTo>
                <a:cubicBezTo>
                  <a:pt x="3165707" y="308737"/>
                  <a:pt x="3180646" y="306766"/>
                  <a:pt x="3195264" y="293158"/>
                </a:cubicBezTo>
                <a:cubicBezTo>
                  <a:pt x="3267122" y="246372"/>
                  <a:pt x="3308286" y="273118"/>
                  <a:pt x="3373785" y="255680"/>
                </a:cubicBezTo>
                <a:cubicBezTo>
                  <a:pt x="3448540" y="239861"/>
                  <a:pt x="3405238" y="287846"/>
                  <a:pt x="3493851" y="240255"/>
                </a:cubicBezTo>
                <a:cubicBezTo>
                  <a:pt x="3506326" y="252723"/>
                  <a:pt x="3518405" y="251593"/>
                  <a:pt x="3537470" y="241867"/>
                </a:cubicBezTo>
                <a:cubicBezTo>
                  <a:pt x="3573967" y="235226"/>
                  <a:pt x="3576893" y="270855"/>
                  <a:pt x="3610489" y="244128"/>
                </a:cubicBezTo>
                <a:cubicBezTo>
                  <a:pt x="3606935" y="264036"/>
                  <a:pt x="3681284" y="241075"/>
                  <a:pt x="3667539" y="263271"/>
                </a:cubicBezTo>
                <a:cubicBezTo>
                  <a:pt x="3694251" y="276940"/>
                  <a:pt x="3701441" y="246803"/>
                  <a:pt x="3727614" y="258245"/>
                </a:cubicBezTo>
                <a:cubicBezTo>
                  <a:pt x="3754952" y="257751"/>
                  <a:pt x="3708960" y="240314"/>
                  <a:pt x="3738369" y="234506"/>
                </a:cubicBezTo>
                <a:cubicBezTo>
                  <a:pt x="3774580" y="230879"/>
                  <a:pt x="3768868" y="196201"/>
                  <a:pt x="3803670" y="236457"/>
                </a:cubicBezTo>
                <a:cubicBezTo>
                  <a:pt x="3839567" y="220301"/>
                  <a:pt x="3850064" y="239151"/>
                  <a:pt x="3903080" y="241890"/>
                </a:cubicBezTo>
                <a:cubicBezTo>
                  <a:pt x="3954941" y="242175"/>
                  <a:pt x="4053514" y="238154"/>
                  <a:pt x="4114838" y="238165"/>
                </a:cubicBezTo>
                <a:cubicBezTo>
                  <a:pt x="4173784" y="217210"/>
                  <a:pt x="4209756" y="243378"/>
                  <a:pt x="4271023" y="241959"/>
                </a:cubicBezTo>
                <a:cubicBezTo>
                  <a:pt x="4326191" y="205535"/>
                  <a:pt x="4316856" y="279258"/>
                  <a:pt x="4367397" y="271442"/>
                </a:cubicBezTo>
                <a:cubicBezTo>
                  <a:pt x="4420874" y="271391"/>
                  <a:pt x="4369000" y="295343"/>
                  <a:pt x="4495366" y="271618"/>
                </a:cubicBezTo>
                <a:cubicBezTo>
                  <a:pt x="4501905" y="266287"/>
                  <a:pt x="4518077" y="269240"/>
                  <a:pt x="4517347" y="275639"/>
                </a:cubicBezTo>
                <a:cubicBezTo>
                  <a:pt x="4525170" y="272832"/>
                  <a:pt x="4542809" y="258800"/>
                  <a:pt x="4546116" y="268568"/>
                </a:cubicBezTo>
                <a:cubicBezTo>
                  <a:pt x="4586961" y="265354"/>
                  <a:pt x="4626617" y="255160"/>
                  <a:pt x="4661259" y="238966"/>
                </a:cubicBezTo>
                <a:cubicBezTo>
                  <a:pt x="4741966" y="247639"/>
                  <a:pt x="4693066" y="205693"/>
                  <a:pt x="4750403" y="204364"/>
                </a:cubicBezTo>
                <a:cubicBezTo>
                  <a:pt x="4798501" y="219113"/>
                  <a:pt x="4813319" y="201253"/>
                  <a:pt x="4867614" y="208668"/>
                </a:cubicBezTo>
                <a:cubicBezTo>
                  <a:pt x="4881621" y="174373"/>
                  <a:pt x="4917566" y="206761"/>
                  <a:pt x="4937036" y="195446"/>
                </a:cubicBezTo>
                <a:cubicBezTo>
                  <a:pt x="4974214" y="229763"/>
                  <a:pt x="5033435" y="175163"/>
                  <a:pt x="5067740" y="172293"/>
                </a:cubicBezTo>
                <a:cubicBezTo>
                  <a:pt x="5126160" y="173265"/>
                  <a:pt x="5172786" y="183138"/>
                  <a:pt x="5200247" y="142695"/>
                </a:cubicBezTo>
                <a:cubicBezTo>
                  <a:pt x="5240970" y="141002"/>
                  <a:pt x="5240507" y="134755"/>
                  <a:pt x="5276878" y="125833"/>
                </a:cubicBezTo>
                <a:cubicBezTo>
                  <a:pt x="5316470" y="106736"/>
                  <a:pt x="5327221" y="110178"/>
                  <a:pt x="5373216" y="111851"/>
                </a:cubicBezTo>
                <a:cubicBezTo>
                  <a:pt x="5382801" y="84741"/>
                  <a:pt x="5419294" y="93078"/>
                  <a:pt x="5482354" y="69470"/>
                </a:cubicBezTo>
                <a:cubicBezTo>
                  <a:pt x="5507119" y="85574"/>
                  <a:pt x="5545363" y="52240"/>
                  <a:pt x="5583280" y="49787"/>
                </a:cubicBezTo>
                <a:cubicBezTo>
                  <a:pt x="5589344" y="36484"/>
                  <a:pt x="5598103" y="36349"/>
                  <a:pt x="5613766" y="41855"/>
                </a:cubicBezTo>
                <a:cubicBezTo>
                  <a:pt x="5636621" y="41086"/>
                  <a:pt x="5660728" y="35034"/>
                  <a:pt x="5684952" y="26088"/>
                </a:cubicBezTo>
                <a:lnTo>
                  <a:pt x="5741575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0A6CE4-8F7E-C2E6-20C8-A23145B0B3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sz="1000"/>
              <a:pPr>
                <a:spcAft>
                  <a:spcPts val="600"/>
                </a:spcAft>
              </a:pPr>
              <a:t>4</a:t>
            </a:fld>
            <a:endParaRPr lang="en-US" sz="1000"/>
          </a:p>
        </p:txBody>
      </p:sp>
      <p:sp>
        <p:nvSpPr>
          <p:cNvPr id="19" name="Rectangle 6">
            <a:extLst>
              <a:ext uri="{FF2B5EF4-FFF2-40B4-BE49-F238E27FC236}">
                <a16:creationId xmlns:a16="http://schemas.microsoft.com/office/drawing/2014/main" id="{8D91DE60-2C2D-4D7E-A6B4-C9499017D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082623" y="6128773"/>
            <a:ext cx="1201506" cy="365125"/>
          </a:xfrm>
          <a:custGeom>
            <a:avLst/>
            <a:gdLst>
              <a:gd name="connsiteX0" fmla="*/ 0 w 2142503"/>
              <a:gd name="connsiteY0" fmla="*/ 0 h 571500"/>
              <a:gd name="connsiteX1" fmla="*/ 2142503 w 2142503"/>
              <a:gd name="connsiteY1" fmla="*/ 0 h 571500"/>
              <a:gd name="connsiteX2" fmla="*/ 2142503 w 2142503"/>
              <a:gd name="connsiteY2" fmla="*/ 571500 h 571500"/>
              <a:gd name="connsiteX3" fmla="*/ 0 w 2142503"/>
              <a:gd name="connsiteY3" fmla="*/ 571500 h 571500"/>
              <a:gd name="connsiteX4" fmla="*/ 0 w 2142503"/>
              <a:gd name="connsiteY4" fmla="*/ 0 h 571500"/>
              <a:gd name="connsiteX0" fmla="*/ 0 w 2142503"/>
              <a:gd name="connsiteY0" fmla="*/ 0 h 582145"/>
              <a:gd name="connsiteX1" fmla="*/ 2142503 w 2142503"/>
              <a:gd name="connsiteY1" fmla="*/ 0 h 582145"/>
              <a:gd name="connsiteX2" fmla="*/ 2142503 w 2142503"/>
              <a:gd name="connsiteY2" fmla="*/ 571500 h 582145"/>
              <a:gd name="connsiteX3" fmla="*/ 2050917 w 2142503"/>
              <a:gd name="connsiteY3" fmla="*/ 582088 h 582145"/>
              <a:gd name="connsiteX4" fmla="*/ 0 w 2142503"/>
              <a:gd name="connsiteY4" fmla="*/ 571500 h 582145"/>
              <a:gd name="connsiteX5" fmla="*/ 0 w 2142503"/>
              <a:gd name="connsiteY5" fmla="*/ 0 h 582145"/>
              <a:gd name="connsiteX0" fmla="*/ 0 w 2159832"/>
              <a:gd name="connsiteY0" fmla="*/ 0 h 582145"/>
              <a:gd name="connsiteX1" fmla="*/ 2142503 w 2159832"/>
              <a:gd name="connsiteY1" fmla="*/ 0 h 582145"/>
              <a:gd name="connsiteX2" fmla="*/ 2159829 w 2159832"/>
              <a:gd name="connsiteY2" fmla="*/ 96526 h 582145"/>
              <a:gd name="connsiteX3" fmla="*/ 2142503 w 2159832"/>
              <a:gd name="connsiteY3" fmla="*/ 571500 h 582145"/>
              <a:gd name="connsiteX4" fmla="*/ 2050917 w 2159832"/>
              <a:gd name="connsiteY4" fmla="*/ 582088 h 582145"/>
              <a:gd name="connsiteX5" fmla="*/ 0 w 2159832"/>
              <a:gd name="connsiteY5" fmla="*/ 571500 h 582145"/>
              <a:gd name="connsiteX6" fmla="*/ 0 w 2159832"/>
              <a:gd name="connsiteY6" fmla="*/ 0 h 582145"/>
              <a:gd name="connsiteX0" fmla="*/ 0 w 2159832"/>
              <a:gd name="connsiteY0" fmla="*/ 12386 h 594531"/>
              <a:gd name="connsiteX1" fmla="*/ 67826 w 2159832"/>
              <a:gd name="connsiteY1" fmla="*/ 0 h 594531"/>
              <a:gd name="connsiteX2" fmla="*/ 2142503 w 2159832"/>
              <a:gd name="connsiteY2" fmla="*/ 12386 h 594531"/>
              <a:gd name="connsiteX3" fmla="*/ 2159829 w 2159832"/>
              <a:gd name="connsiteY3" fmla="*/ 108912 h 594531"/>
              <a:gd name="connsiteX4" fmla="*/ 2142503 w 2159832"/>
              <a:gd name="connsiteY4" fmla="*/ 583886 h 594531"/>
              <a:gd name="connsiteX5" fmla="*/ 2050917 w 2159832"/>
              <a:gd name="connsiteY5" fmla="*/ 594474 h 594531"/>
              <a:gd name="connsiteX6" fmla="*/ 0 w 2159832"/>
              <a:gd name="connsiteY6" fmla="*/ 583886 h 594531"/>
              <a:gd name="connsiteX7" fmla="*/ 0 w 2159832"/>
              <a:gd name="connsiteY7" fmla="*/ 12386 h 594531"/>
              <a:gd name="connsiteX0" fmla="*/ 0 w 2168908"/>
              <a:gd name="connsiteY0" fmla="*/ 26000 h 594531"/>
              <a:gd name="connsiteX1" fmla="*/ 76902 w 2168908"/>
              <a:gd name="connsiteY1" fmla="*/ 0 h 594531"/>
              <a:gd name="connsiteX2" fmla="*/ 2151579 w 2168908"/>
              <a:gd name="connsiteY2" fmla="*/ 12386 h 594531"/>
              <a:gd name="connsiteX3" fmla="*/ 2168905 w 2168908"/>
              <a:gd name="connsiteY3" fmla="*/ 108912 h 594531"/>
              <a:gd name="connsiteX4" fmla="*/ 2151579 w 2168908"/>
              <a:gd name="connsiteY4" fmla="*/ 583886 h 594531"/>
              <a:gd name="connsiteX5" fmla="*/ 2059993 w 2168908"/>
              <a:gd name="connsiteY5" fmla="*/ 594474 h 594531"/>
              <a:gd name="connsiteX6" fmla="*/ 9076 w 2168908"/>
              <a:gd name="connsiteY6" fmla="*/ 583886 h 594531"/>
              <a:gd name="connsiteX7" fmla="*/ 0 w 2168908"/>
              <a:gd name="connsiteY7" fmla="*/ 26000 h 594531"/>
              <a:gd name="connsiteX0" fmla="*/ 5393 w 2174301"/>
              <a:gd name="connsiteY0" fmla="*/ 26000 h 594531"/>
              <a:gd name="connsiteX1" fmla="*/ 82295 w 2174301"/>
              <a:gd name="connsiteY1" fmla="*/ 0 h 594531"/>
              <a:gd name="connsiteX2" fmla="*/ 2156972 w 2174301"/>
              <a:gd name="connsiteY2" fmla="*/ 12386 h 594531"/>
              <a:gd name="connsiteX3" fmla="*/ 2174298 w 2174301"/>
              <a:gd name="connsiteY3" fmla="*/ 108912 h 594531"/>
              <a:gd name="connsiteX4" fmla="*/ 2156972 w 2174301"/>
              <a:gd name="connsiteY4" fmla="*/ 583886 h 594531"/>
              <a:gd name="connsiteX5" fmla="*/ 2065386 w 2174301"/>
              <a:gd name="connsiteY5" fmla="*/ 594474 h 594531"/>
              <a:gd name="connsiteX6" fmla="*/ 14469 w 2174301"/>
              <a:gd name="connsiteY6" fmla="*/ 583886 h 594531"/>
              <a:gd name="connsiteX7" fmla="*/ 5393 w 2174301"/>
              <a:gd name="connsiteY7" fmla="*/ 26000 h 594531"/>
              <a:gd name="connsiteX0" fmla="*/ 5393 w 2174301"/>
              <a:gd name="connsiteY0" fmla="*/ 26000 h 594531"/>
              <a:gd name="connsiteX1" fmla="*/ 82295 w 2174301"/>
              <a:gd name="connsiteY1" fmla="*/ 0 h 594531"/>
              <a:gd name="connsiteX2" fmla="*/ 2156972 w 2174301"/>
              <a:gd name="connsiteY2" fmla="*/ 12386 h 594531"/>
              <a:gd name="connsiteX3" fmla="*/ 2174298 w 2174301"/>
              <a:gd name="connsiteY3" fmla="*/ 108912 h 594531"/>
              <a:gd name="connsiteX4" fmla="*/ 2156972 w 2174301"/>
              <a:gd name="connsiteY4" fmla="*/ 583886 h 594531"/>
              <a:gd name="connsiteX5" fmla="*/ 2065386 w 2174301"/>
              <a:gd name="connsiteY5" fmla="*/ 594474 h 594531"/>
              <a:gd name="connsiteX6" fmla="*/ 14469 w 2174301"/>
              <a:gd name="connsiteY6" fmla="*/ 583886 h 594531"/>
              <a:gd name="connsiteX7" fmla="*/ 5393 w 2174301"/>
              <a:gd name="connsiteY7" fmla="*/ 26000 h 594531"/>
              <a:gd name="connsiteX0" fmla="*/ 5393 w 2174301"/>
              <a:gd name="connsiteY0" fmla="*/ 26000 h 594531"/>
              <a:gd name="connsiteX1" fmla="*/ 82295 w 2174301"/>
              <a:gd name="connsiteY1" fmla="*/ 0 h 594531"/>
              <a:gd name="connsiteX2" fmla="*/ 2156972 w 2174301"/>
              <a:gd name="connsiteY2" fmla="*/ 12386 h 594531"/>
              <a:gd name="connsiteX3" fmla="*/ 2174298 w 2174301"/>
              <a:gd name="connsiteY3" fmla="*/ 108912 h 594531"/>
              <a:gd name="connsiteX4" fmla="*/ 2156972 w 2174301"/>
              <a:gd name="connsiteY4" fmla="*/ 583886 h 594531"/>
              <a:gd name="connsiteX5" fmla="*/ 2065386 w 2174301"/>
              <a:gd name="connsiteY5" fmla="*/ 594474 h 594531"/>
              <a:gd name="connsiteX6" fmla="*/ 14469 w 2174301"/>
              <a:gd name="connsiteY6" fmla="*/ 583886 h 594531"/>
              <a:gd name="connsiteX7" fmla="*/ 5393 w 2174301"/>
              <a:gd name="connsiteY7" fmla="*/ 26000 h 594531"/>
              <a:gd name="connsiteX0" fmla="*/ 5393 w 2174301"/>
              <a:gd name="connsiteY0" fmla="*/ 26000 h 594531"/>
              <a:gd name="connsiteX1" fmla="*/ 82295 w 2174301"/>
              <a:gd name="connsiteY1" fmla="*/ 0 h 594531"/>
              <a:gd name="connsiteX2" fmla="*/ 2156972 w 2174301"/>
              <a:gd name="connsiteY2" fmla="*/ 12386 h 594531"/>
              <a:gd name="connsiteX3" fmla="*/ 2174298 w 2174301"/>
              <a:gd name="connsiteY3" fmla="*/ 108912 h 594531"/>
              <a:gd name="connsiteX4" fmla="*/ 2156972 w 2174301"/>
              <a:gd name="connsiteY4" fmla="*/ 583886 h 594531"/>
              <a:gd name="connsiteX5" fmla="*/ 2065386 w 2174301"/>
              <a:gd name="connsiteY5" fmla="*/ 594474 h 594531"/>
              <a:gd name="connsiteX6" fmla="*/ 14469 w 2174301"/>
              <a:gd name="connsiteY6" fmla="*/ 583886 h 594531"/>
              <a:gd name="connsiteX7" fmla="*/ 5393 w 2174301"/>
              <a:gd name="connsiteY7" fmla="*/ 26000 h 594531"/>
              <a:gd name="connsiteX0" fmla="*/ 147197 w 2316105"/>
              <a:gd name="connsiteY0" fmla="*/ 26000 h 594531"/>
              <a:gd name="connsiteX1" fmla="*/ 224099 w 2316105"/>
              <a:gd name="connsiteY1" fmla="*/ 0 h 594531"/>
              <a:gd name="connsiteX2" fmla="*/ 2298776 w 2316105"/>
              <a:gd name="connsiteY2" fmla="*/ 12386 h 594531"/>
              <a:gd name="connsiteX3" fmla="*/ 2316102 w 2316105"/>
              <a:gd name="connsiteY3" fmla="*/ 108912 h 594531"/>
              <a:gd name="connsiteX4" fmla="*/ 2298776 w 2316105"/>
              <a:gd name="connsiteY4" fmla="*/ 583886 h 594531"/>
              <a:gd name="connsiteX5" fmla="*/ 2207190 w 2316105"/>
              <a:gd name="connsiteY5" fmla="*/ 594474 h 594531"/>
              <a:gd name="connsiteX6" fmla="*/ 156273 w 2316105"/>
              <a:gd name="connsiteY6" fmla="*/ 583886 h 594531"/>
              <a:gd name="connsiteX7" fmla="*/ 142416 w 2316105"/>
              <a:gd name="connsiteY7" fmla="*/ 235975 h 594531"/>
              <a:gd name="connsiteX8" fmla="*/ 147197 w 2316105"/>
              <a:gd name="connsiteY8" fmla="*/ 26000 h 594531"/>
              <a:gd name="connsiteX0" fmla="*/ 154684 w 2323592"/>
              <a:gd name="connsiteY0" fmla="*/ 26000 h 594531"/>
              <a:gd name="connsiteX1" fmla="*/ 231586 w 2323592"/>
              <a:gd name="connsiteY1" fmla="*/ 0 h 594531"/>
              <a:gd name="connsiteX2" fmla="*/ 2306263 w 2323592"/>
              <a:gd name="connsiteY2" fmla="*/ 12386 h 594531"/>
              <a:gd name="connsiteX3" fmla="*/ 2323589 w 2323592"/>
              <a:gd name="connsiteY3" fmla="*/ 108912 h 594531"/>
              <a:gd name="connsiteX4" fmla="*/ 2306263 w 2323592"/>
              <a:gd name="connsiteY4" fmla="*/ 583886 h 594531"/>
              <a:gd name="connsiteX5" fmla="*/ 2214677 w 2323592"/>
              <a:gd name="connsiteY5" fmla="*/ 594474 h 594531"/>
              <a:gd name="connsiteX6" fmla="*/ 163760 w 2323592"/>
              <a:gd name="connsiteY6" fmla="*/ 583886 h 594531"/>
              <a:gd name="connsiteX7" fmla="*/ 158979 w 2323592"/>
              <a:gd name="connsiteY7" fmla="*/ 403879 h 594531"/>
              <a:gd name="connsiteX8" fmla="*/ 149903 w 2323592"/>
              <a:gd name="connsiteY8" fmla="*/ 235975 h 594531"/>
              <a:gd name="connsiteX9" fmla="*/ 154684 w 2323592"/>
              <a:gd name="connsiteY9" fmla="*/ 26000 h 594531"/>
              <a:gd name="connsiteX0" fmla="*/ 13665 w 2182573"/>
              <a:gd name="connsiteY0" fmla="*/ 26000 h 594531"/>
              <a:gd name="connsiteX1" fmla="*/ 90567 w 2182573"/>
              <a:gd name="connsiteY1" fmla="*/ 0 h 594531"/>
              <a:gd name="connsiteX2" fmla="*/ 2165244 w 2182573"/>
              <a:gd name="connsiteY2" fmla="*/ 12386 h 594531"/>
              <a:gd name="connsiteX3" fmla="*/ 2182570 w 2182573"/>
              <a:gd name="connsiteY3" fmla="*/ 108912 h 594531"/>
              <a:gd name="connsiteX4" fmla="*/ 2165244 w 2182573"/>
              <a:gd name="connsiteY4" fmla="*/ 583886 h 594531"/>
              <a:gd name="connsiteX5" fmla="*/ 2073658 w 2182573"/>
              <a:gd name="connsiteY5" fmla="*/ 594474 h 594531"/>
              <a:gd name="connsiteX6" fmla="*/ 22741 w 2182573"/>
              <a:gd name="connsiteY6" fmla="*/ 583886 h 594531"/>
              <a:gd name="connsiteX7" fmla="*/ 17960 w 2182573"/>
              <a:gd name="connsiteY7" fmla="*/ 403879 h 594531"/>
              <a:gd name="connsiteX8" fmla="*/ 8884 w 2182573"/>
              <a:gd name="connsiteY8" fmla="*/ 235975 h 594531"/>
              <a:gd name="connsiteX9" fmla="*/ 13665 w 2182573"/>
              <a:gd name="connsiteY9" fmla="*/ 26000 h 594531"/>
              <a:gd name="connsiteX0" fmla="*/ 13665 w 2202120"/>
              <a:gd name="connsiteY0" fmla="*/ 26000 h 594531"/>
              <a:gd name="connsiteX1" fmla="*/ 90567 w 2202120"/>
              <a:gd name="connsiteY1" fmla="*/ 0 h 594531"/>
              <a:gd name="connsiteX2" fmla="*/ 2165244 w 2202120"/>
              <a:gd name="connsiteY2" fmla="*/ 12386 h 594531"/>
              <a:gd name="connsiteX3" fmla="*/ 2182570 w 2202120"/>
              <a:gd name="connsiteY3" fmla="*/ 108912 h 594531"/>
              <a:gd name="connsiteX4" fmla="*/ 2192471 w 2202120"/>
              <a:gd name="connsiteY4" fmla="*/ 583886 h 594531"/>
              <a:gd name="connsiteX5" fmla="*/ 2073658 w 2202120"/>
              <a:gd name="connsiteY5" fmla="*/ 594474 h 594531"/>
              <a:gd name="connsiteX6" fmla="*/ 22741 w 2202120"/>
              <a:gd name="connsiteY6" fmla="*/ 583886 h 594531"/>
              <a:gd name="connsiteX7" fmla="*/ 17960 w 2202120"/>
              <a:gd name="connsiteY7" fmla="*/ 403879 h 594531"/>
              <a:gd name="connsiteX8" fmla="*/ 8884 w 2202120"/>
              <a:gd name="connsiteY8" fmla="*/ 235975 h 594531"/>
              <a:gd name="connsiteX9" fmla="*/ 13665 w 2202120"/>
              <a:gd name="connsiteY9" fmla="*/ 26000 h 594531"/>
              <a:gd name="connsiteX0" fmla="*/ 13665 w 2202036"/>
              <a:gd name="connsiteY0" fmla="*/ 26000 h 594531"/>
              <a:gd name="connsiteX1" fmla="*/ 90567 w 2202036"/>
              <a:gd name="connsiteY1" fmla="*/ 0 h 594531"/>
              <a:gd name="connsiteX2" fmla="*/ 2165244 w 2202036"/>
              <a:gd name="connsiteY2" fmla="*/ 12386 h 594531"/>
              <a:gd name="connsiteX3" fmla="*/ 2182570 w 2202036"/>
              <a:gd name="connsiteY3" fmla="*/ 108912 h 594531"/>
              <a:gd name="connsiteX4" fmla="*/ 2191645 w 2202036"/>
              <a:gd name="connsiteY4" fmla="*/ 422031 h 594531"/>
              <a:gd name="connsiteX5" fmla="*/ 2192471 w 2202036"/>
              <a:gd name="connsiteY5" fmla="*/ 583886 h 594531"/>
              <a:gd name="connsiteX6" fmla="*/ 2073658 w 2202036"/>
              <a:gd name="connsiteY6" fmla="*/ 594474 h 594531"/>
              <a:gd name="connsiteX7" fmla="*/ 22741 w 2202036"/>
              <a:gd name="connsiteY7" fmla="*/ 583886 h 594531"/>
              <a:gd name="connsiteX8" fmla="*/ 17960 w 2202036"/>
              <a:gd name="connsiteY8" fmla="*/ 403879 h 594531"/>
              <a:gd name="connsiteX9" fmla="*/ 8884 w 2202036"/>
              <a:gd name="connsiteY9" fmla="*/ 235975 h 594531"/>
              <a:gd name="connsiteX10" fmla="*/ 13665 w 2202036"/>
              <a:gd name="connsiteY10" fmla="*/ 26000 h 594531"/>
              <a:gd name="connsiteX0" fmla="*/ 142254 w 2330625"/>
              <a:gd name="connsiteY0" fmla="*/ 26000 h 594531"/>
              <a:gd name="connsiteX1" fmla="*/ 219156 w 2330625"/>
              <a:gd name="connsiteY1" fmla="*/ 0 h 594531"/>
              <a:gd name="connsiteX2" fmla="*/ 2293833 w 2330625"/>
              <a:gd name="connsiteY2" fmla="*/ 12386 h 594531"/>
              <a:gd name="connsiteX3" fmla="*/ 2311159 w 2330625"/>
              <a:gd name="connsiteY3" fmla="*/ 108912 h 594531"/>
              <a:gd name="connsiteX4" fmla="*/ 2320234 w 2330625"/>
              <a:gd name="connsiteY4" fmla="*/ 422031 h 594531"/>
              <a:gd name="connsiteX5" fmla="*/ 2321060 w 2330625"/>
              <a:gd name="connsiteY5" fmla="*/ 583886 h 594531"/>
              <a:gd name="connsiteX6" fmla="*/ 2202247 w 2330625"/>
              <a:gd name="connsiteY6" fmla="*/ 594474 h 594531"/>
              <a:gd name="connsiteX7" fmla="*/ 151330 w 2330625"/>
              <a:gd name="connsiteY7" fmla="*/ 583886 h 594531"/>
              <a:gd name="connsiteX8" fmla="*/ 155624 w 2330625"/>
              <a:gd name="connsiteY8" fmla="*/ 512790 h 594531"/>
              <a:gd name="connsiteX9" fmla="*/ 146549 w 2330625"/>
              <a:gd name="connsiteY9" fmla="*/ 403879 h 594531"/>
              <a:gd name="connsiteX10" fmla="*/ 137473 w 2330625"/>
              <a:gd name="connsiteY10" fmla="*/ 235975 h 594531"/>
              <a:gd name="connsiteX11" fmla="*/ 142254 w 2330625"/>
              <a:gd name="connsiteY11" fmla="*/ 26000 h 594531"/>
              <a:gd name="connsiteX0" fmla="*/ 13413 w 2201784"/>
              <a:gd name="connsiteY0" fmla="*/ 26000 h 594531"/>
              <a:gd name="connsiteX1" fmla="*/ 90315 w 2201784"/>
              <a:gd name="connsiteY1" fmla="*/ 0 h 594531"/>
              <a:gd name="connsiteX2" fmla="*/ 2164992 w 2201784"/>
              <a:gd name="connsiteY2" fmla="*/ 12386 h 594531"/>
              <a:gd name="connsiteX3" fmla="*/ 2182318 w 2201784"/>
              <a:gd name="connsiteY3" fmla="*/ 108912 h 594531"/>
              <a:gd name="connsiteX4" fmla="*/ 2191393 w 2201784"/>
              <a:gd name="connsiteY4" fmla="*/ 422031 h 594531"/>
              <a:gd name="connsiteX5" fmla="*/ 2192219 w 2201784"/>
              <a:gd name="connsiteY5" fmla="*/ 583886 h 594531"/>
              <a:gd name="connsiteX6" fmla="*/ 2073406 w 2201784"/>
              <a:gd name="connsiteY6" fmla="*/ 594474 h 594531"/>
              <a:gd name="connsiteX7" fmla="*/ 22489 w 2201784"/>
              <a:gd name="connsiteY7" fmla="*/ 583886 h 594531"/>
              <a:gd name="connsiteX8" fmla="*/ 26783 w 2201784"/>
              <a:gd name="connsiteY8" fmla="*/ 512790 h 594531"/>
              <a:gd name="connsiteX9" fmla="*/ 17708 w 2201784"/>
              <a:gd name="connsiteY9" fmla="*/ 403879 h 594531"/>
              <a:gd name="connsiteX10" fmla="*/ 8632 w 2201784"/>
              <a:gd name="connsiteY10" fmla="*/ 235975 h 594531"/>
              <a:gd name="connsiteX11" fmla="*/ 13413 w 2201784"/>
              <a:gd name="connsiteY11" fmla="*/ 26000 h 594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01784" h="594531">
                <a:moveTo>
                  <a:pt x="13413" y="26000"/>
                </a:moveTo>
                <a:cubicBezTo>
                  <a:pt x="37534" y="24897"/>
                  <a:pt x="66194" y="1103"/>
                  <a:pt x="90315" y="0"/>
                </a:cubicBezTo>
                <a:lnTo>
                  <a:pt x="2164992" y="12386"/>
                </a:lnTo>
                <a:cubicBezTo>
                  <a:pt x="2164717" y="43049"/>
                  <a:pt x="2182593" y="78249"/>
                  <a:pt x="2182318" y="108912"/>
                </a:cubicBezTo>
                <a:cubicBezTo>
                  <a:pt x="2188231" y="177186"/>
                  <a:pt x="2189743" y="342869"/>
                  <a:pt x="2191393" y="422031"/>
                </a:cubicBezTo>
                <a:cubicBezTo>
                  <a:pt x="2193043" y="501193"/>
                  <a:pt x="2213396" y="555146"/>
                  <a:pt x="2192219" y="583886"/>
                </a:cubicBezTo>
                <a:cubicBezTo>
                  <a:pt x="2172279" y="582877"/>
                  <a:pt x="2093346" y="595483"/>
                  <a:pt x="2073406" y="594474"/>
                </a:cubicBezTo>
                <a:lnTo>
                  <a:pt x="22489" y="583886"/>
                </a:lnTo>
                <a:cubicBezTo>
                  <a:pt x="5849" y="592962"/>
                  <a:pt x="27580" y="542791"/>
                  <a:pt x="26783" y="512790"/>
                </a:cubicBezTo>
                <a:cubicBezTo>
                  <a:pt x="25986" y="482789"/>
                  <a:pt x="18464" y="450015"/>
                  <a:pt x="17708" y="403879"/>
                </a:cubicBezTo>
                <a:cubicBezTo>
                  <a:pt x="16952" y="357743"/>
                  <a:pt x="-14855" y="308787"/>
                  <a:pt x="8632" y="235975"/>
                </a:cubicBezTo>
                <a:cubicBezTo>
                  <a:pt x="7119" y="142994"/>
                  <a:pt x="-201" y="65329"/>
                  <a:pt x="13413" y="26000"/>
                </a:cubicBezTo>
                <a:close/>
              </a:path>
            </a:pathLst>
          </a:custGeom>
          <a:solidFill>
            <a:srgbClr val="D9D4D0">
              <a:alpha val="50000"/>
            </a:srgbClr>
          </a:solidFill>
          <a:ln>
            <a:noFill/>
          </a:ln>
          <a:effectLst>
            <a:softEdge rad="63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1">
            <a:extLst>
              <a:ext uri="{FF2B5EF4-FFF2-40B4-BE49-F238E27FC236}">
                <a16:creationId xmlns:a16="http://schemas.microsoft.com/office/drawing/2014/main" id="{7E2D91D3-61CE-4785-5FD1-F846281A970D}"/>
              </a:ext>
            </a:extLst>
          </p:cNvPr>
          <p:cNvSpPr txBox="1"/>
          <p:nvPr/>
        </p:nvSpPr>
        <p:spPr>
          <a:xfrm>
            <a:off x="9551548" y="6481625"/>
            <a:ext cx="2637888" cy="369332"/>
          </a:xfrm>
          <a:prstGeom prst="rect">
            <a:avLst/>
          </a:prstGeom>
          <a:solidFill>
            <a:srgbClr val="ED7D31"/>
          </a:solidFill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>
                <a:solidFill>
                  <a:schemeClr val="bg1"/>
                </a:solidFill>
                <a:ea typeface="Calibri"/>
                <a:cs typeface="Calibri"/>
              </a:rPr>
              <a:t>Available in your Folder</a:t>
            </a:r>
          </a:p>
        </p:txBody>
      </p:sp>
    </p:spTree>
    <p:extLst>
      <p:ext uri="{BB962C8B-B14F-4D97-AF65-F5344CB8AC3E}">
        <p14:creationId xmlns:p14="http://schemas.microsoft.com/office/powerpoint/2010/main" val="16057901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54D9D2-FD51-4B03-BD7A-F1350B0E30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428" y="222679"/>
            <a:ext cx="6986954" cy="1325563"/>
          </a:xfrm>
          <a:noFill/>
        </p:spPr>
        <p:txBody>
          <a:bodyPr/>
          <a:lstStyle/>
          <a:p>
            <a:r>
              <a:rPr lang="en-US">
                <a:ea typeface="Lato Medium"/>
                <a:cs typeface="Calibri"/>
              </a:rPr>
              <a:t>Celebrating the Power of Patient Partnerships and Progress Made!</a:t>
            </a:r>
            <a:endParaRPr lang="en-US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CEE450-F382-85B8-1007-AE56BB298F3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dirty="0" smtClean="0"/>
              <a:pPr/>
              <a:t>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8FCC0D-964B-6184-D355-259732ED25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10" name="Picture 6" descr="A picture containing text&#10;&#10;Description automatically generated">
            <a:extLst>
              <a:ext uri="{FF2B5EF4-FFF2-40B4-BE49-F238E27FC236}">
                <a16:creationId xmlns:a16="http://schemas.microsoft.com/office/drawing/2014/main" id="{F27DEC56-9E71-C49C-3E0A-B0FD6F49349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27446" y="1624341"/>
            <a:ext cx="3252616" cy="5041451"/>
          </a:xfrm>
          <a:prstGeom prst="rect">
            <a:avLst/>
          </a:prstGeom>
        </p:spPr>
      </p:pic>
      <p:pic>
        <p:nvPicPr>
          <p:cNvPr id="17" name="Graphic 5" descr="Badge New with solid fill">
            <a:extLst>
              <a:ext uri="{FF2B5EF4-FFF2-40B4-BE49-F238E27FC236}">
                <a16:creationId xmlns:a16="http://schemas.microsoft.com/office/drawing/2014/main" id="{27A5A02D-C930-11A7-CAD8-222BDB05A17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600951" y="5883707"/>
            <a:ext cx="247701" cy="238408"/>
          </a:xfrm>
          <a:prstGeom prst="rect">
            <a:avLst/>
          </a:prstGeom>
        </p:spPr>
      </p:pic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46A9C70C-276E-351C-C598-87624FCAEA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6100" y="1645747"/>
            <a:ext cx="7456522" cy="4373871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endParaRPr lang="en-US" sz="3600" b="1">
              <a:ea typeface="+mn-lt"/>
              <a:cs typeface="+mn-lt"/>
            </a:endParaRPr>
          </a:p>
          <a:p>
            <a:pPr marL="0" indent="0">
              <a:buNone/>
            </a:pPr>
            <a:r>
              <a:rPr lang="en-US" sz="3600" b="1">
                <a:ea typeface="+mn-lt"/>
                <a:cs typeface="+mn-lt"/>
              </a:rPr>
              <a:t>20 </a:t>
            </a:r>
            <a:r>
              <a:rPr lang="en-US" sz="3600">
                <a:ea typeface="+mn-lt"/>
                <a:cs typeface="+mn-lt"/>
              </a:rPr>
              <a:t>hospitals have held Respectful Care Breakfasts in 2023</a:t>
            </a:r>
            <a:endParaRPr lang="en-US" sz="3600">
              <a:cs typeface="Calibri"/>
            </a:endParaRPr>
          </a:p>
          <a:p>
            <a:pPr marL="0" indent="0">
              <a:buNone/>
            </a:pPr>
            <a:r>
              <a:rPr lang="en-US" sz="3600" b="1">
                <a:ea typeface="+mn-lt"/>
                <a:cs typeface="+mn-lt"/>
              </a:rPr>
              <a:t>8 </a:t>
            </a:r>
            <a:r>
              <a:rPr lang="en-US" sz="3600">
                <a:ea typeface="+mn-lt"/>
                <a:cs typeface="+mn-lt"/>
              </a:rPr>
              <a:t>Patient Partners engaged on hospital QI teams</a:t>
            </a:r>
            <a:endParaRPr lang="en-US" sz="3600"/>
          </a:p>
          <a:p>
            <a:pPr marL="0" indent="0">
              <a:buNone/>
            </a:pPr>
            <a:endParaRPr lang="en-US" sz="2800">
              <a:cs typeface="Calibri"/>
            </a:endParaRPr>
          </a:p>
        </p:txBody>
      </p:sp>
      <p:pic>
        <p:nvPicPr>
          <p:cNvPr id="31" name="Graphic 5" descr="Badge New with solid fill">
            <a:extLst>
              <a:ext uri="{FF2B5EF4-FFF2-40B4-BE49-F238E27FC236}">
                <a16:creationId xmlns:a16="http://schemas.microsoft.com/office/drawing/2014/main" id="{7628A1FB-0082-2E3B-5D69-790C34917CB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83831" y="2198627"/>
            <a:ext cx="247701" cy="247701"/>
          </a:xfrm>
          <a:prstGeom prst="rect">
            <a:avLst/>
          </a:prstGeom>
        </p:spPr>
      </p:pic>
      <p:pic>
        <p:nvPicPr>
          <p:cNvPr id="35" name="Graphic 5" descr="Badge New with solid fill">
            <a:extLst>
              <a:ext uri="{FF2B5EF4-FFF2-40B4-BE49-F238E27FC236}">
                <a16:creationId xmlns:a16="http://schemas.microsoft.com/office/drawing/2014/main" id="{016EC706-5381-6F8A-E645-312DBD2714A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36228" y="1713785"/>
            <a:ext cx="247701" cy="247701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736185A-04B9-5AE2-4F05-767F6C9244FA}"/>
              </a:ext>
            </a:extLst>
          </p:cNvPr>
          <p:cNvSpPr/>
          <p:nvPr/>
        </p:nvSpPr>
        <p:spPr>
          <a:xfrm>
            <a:off x="9356123" y="4464907"/>
            <a:ext cx="2677296" cy="116898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000">
                <a:cs typeface="Calibri"/>
              </a:rPr>
              <a:t>20 Respectful Care Breakfasts</a:t>
            </a:r>
            <a:endParaRPr lang="en-US"/>
          </a:p>
          <a:p>
            <a:pPr algn="ctr"/>
            <a:r>
              <a:rPr lang="en-US" sz="2000">
                <a:cs typeface="Calibri"/>
              </a:rPr>
              <a:t>May – Nov 2023</a:t>
            </a:r>
          </a:p>
        </p:txBody>
      </p:sp>
      <p:pic>
        <p:nvPicPr>
          <p:cNvPr id="3" name="Graphic 5" descr="Badge New with solid fill">
            <a:extLst>
              <a:ext uri="{FF2B5EF4-FFF2-40B4-BE49-F238E27FC236}">
                <a16:creationId xmlns:a16="http://schemas.microsoft.com/office/drawing/2014/main" id="{195523A0-798C-A60D-7C9F-1400D4F29FE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80115" y="2441757"/>
            <a:ext cx="247701" cy="247701"/>
          </a:xfrm>
          <a:prstGeom prst="rect">
            <a:avLst/>
          </a:prstGeom>
        </p:spPr>
      </p:pic>
      <p:pic>
        <p:nvPicPr>
          <p:cNvPr id="9" name="Graphic 5" descr="Badge New with solid fill">
            <a:extLst>
              <a:ext uri="{FF2B5EF4-FFF2-40B4-BE49-F238E27FC236}">
                <a16:creationId xmlns:a16="http://schemas.microsoft.com/office/drawing/2014/main" id="{E2B8F2AE-8F1C-81CB-C781-ADAB14246E4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10370" y="4975014"/>
            <a:ext cx="247701" cy="247701"/>
          </a:xfrm>
          <a:prstGeom prst="rect">
            <a:avLst/>
          </a:prstGeom>
        </p:spPr>
      </p:pic>
      <p:pic>
        <p:nvPicPr>
          <p:cNvPr id="11" name="Graphic 5" descr="Badge New with solid fill">
            <a:extLst>
              <a:ext uri="{FF2B5EF4-FFF2-40B4-BE49-F238E27FC236}">
                <a16:creationId xmlns:a16="http://schemas.microsoft.com/office/drawing/2014/main" id="{999026FA-999B-16AC-AD2B-0DD10F0A26F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84031" y="2270038"/>
            <a:ext cx="247701" cy="247701"/>
          </a:xfrm>
          <a:prstGeom prst="rect">
            <a:avLst/>
          </a:prstGeom>
        </p:spPr>
      </p:pic>
      <p:pic>
        <p:nvPicPr>
          <p:cNvPr id="12" name="Graphic 5" descr="Badge New with solid fill">
            <a:extLst>
              <a:ext uri="{FF2B5EF4-FFF2-40B4-BE49-F238E27FC236}">
                <a16:creationId xmlns:a16="http://schemas.microsoft.com/office/drawing/2014/main" id="{E83BF750-B616-843D-AF53-23F93408E81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33470" y="1718970"/>
            <a:ext cx="247701" cy="247701"/>
          </a:xfrm>
          <a:prstGeom prst="rect">
            <a:avLst/>
          </a:prstGeom>
        </p:spPr>
      </p:pic>
      <p:pic>
        <p:nvPicPr>
          <p:cNvPr id="13" name="Graphic 5" descr="Badge New with solid fill">
            <a:extLst>
              <a:ext uri="{FF2B5EF4-FFF2-40B4-BE49-F238E27FC236}">
                <a16:creationId xmlns:a16="http://schemas.microsoft.com/office/drawing/2014/main" id="{D3CEBC24-4F23-6E3A-29B1-758FF7AE5CD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71163" y="1715254"/>
            <a:ext cx="247701" cy="247701"/>
          </a:xfrm>
          <a:prstGeom prst="rect">
            <a:avLst/>
          </a:prstGeom>
        </p:spPr>
      </p:pic>
      <p:pic>
        <p:nvPicPr>
          <p:cNvPr id="14" name="Graphic 5" descr="Badge New with solid fill">
            <a:extLst>
              <a:ext uri="{FF2B5EF4-FFF2-40B4-BE49-F238E27FC236}">
                <a16:creationId xmlns:a16="http://schemas.microsoft.com/office/drawing/2014/main" id="{CB74F1DF-5187-6D30-9C82-1CBBB6EB1C6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12800" y="2309114"/>
            <a:ext cx="247701" cy="247701"/>
          </a:xfrm>
          <a:prstGeom prst="rect">
            <a:avLst/>
          </a:prstGeom>
        </p:spPr>
      </p:pic>
      <p:pic>
        <p:nvPicPr>
          <p:cNvPr id="15" name="Graphic 5" descr="Badge New with solid fill">
            <a:extLst>
              <a:ext uri="{FF2B5EF4-FFF2-40B4-BE49-F238E27FC236}">
                <a16:creationId xmlns:a16="http://schemas.microsoft.com/office/drawing/2014/main" id="{C7300F3E-5E53-D5E6-6857-A8EA4F59A6D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024338" y="2563114"/>
            <a:ext cx="247701" cy="247701"/>
          </a:xfrm>
          <a:prstGeom prst="rect">
            <a:avLst/>
          </a:prstGeom>
        </p:spPr>
      </p:pic>
      <p:pic>
        <p:nvPicPr>
          <p:cNvPr id="16" name="Graphic 5" descr="Badge New with solid fill">
            <a:extLst>
              <a:ext uri="{FF2B5EF4-FFF2-40B4-BE49-F238E27FC236}">
                <a16:creationId xmlns:a16="http://schemas.microsoft.com/office/drawing/2014/main" id="{CE4530F3-F8CC-51CB-EB1A-66A09CD7C6D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15646" y="2436115"/>
            <a:ext cx="247701" cy="247701"/>
          </a:xfrm>
          <a:prstGeom prst="rect">
            <a:avLst/>
          </a:prstGeom>
        </p:spPr>
      </p:pic>
      <p:pic>
        <p:nvPicPr>
          <p:cNvPr id="18" name="Graphic 5" descr="Badge New with solid fill">
            <a:extLst>
              <a:ext uri="{FF2B5EF4-FFF2-40B4-BE49-F238E27FC236}">
                <a16:creationId xmlns:a16="http://schemas.microsoft.com/office/drawing/2014/main" id="{146FED9A-563A-3506-3036-6BA62285DBD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89338" y="2817114"/>
            <a:ext cx="247701" cy="247701"/>
          </a:xfrm>
          <a:prstGeom prst="rect">
            <a:avLst/>
          </a:prstGeom>
        </p:spPr>
      </p:pic>
      <p:pic>
        <p:nvPicPr>
          <p:cNvPr id="19" name="Graphic 5" descr="Badge New with solid fill">
            <a:extLst>
              <a:ext uri="{FF2B5EF4-FFF2-40B4-BE49-F238E27FC236}">
                <a16:creationId xmlns:a16="http://schemas.microsoft.com/office/drawing/2014/main" id="{51EE5AF0-C780-2D97-C58C-6937A78B7C1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024337" y="3715883"/>
            <a:ext cx="247701" cy="247701"/>
          </a:xfrm>
          <a:prstGeom prst="rect">
            <a:avLst/>
          </a:prstGeom>
        </p:spPr>
      </p:pic>
      <p:pic>
        <p:nvPicPr>
          <p:cNvPr id="20" name="Graphic 5" descr="Badge New with solid fill">
            <a:extLst>
              <a:ext uri="{FF2B5EF4-FFF2-40B4-BE49-F238E27FC236}">
                <a16:creationId xmlns:a16="http://schemas.microsoft.com/office/drawing/2014/main" id="{E56A7663-FEFA-CBE3-56F5-B706CC1C57D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12800" y="2182114"/>
            <a:ext cx="247701" cy="247701"/>
          </a:xfrm>
          <a:prstGeom prst="rect">
            <a:avLst/>
          </a:prstGeom>
        </p:spPr>
      </p:pic>
      <p:pic>
        <p:nvPicPr>
          <p:cNvPr id="22" name="Graphic 5" descr="Badge New with solid fill">
            <a:extLst>
              <a:ext uri="{FF2B5EF4-FFF2-40B4-BE49-F238E27FC236}">
                <a16:creationId xmlns:a16="http://schemas.microsoft.com/office/drawing/2014/main" id="{A62CEA58-C1DE-FB2C-F176-8B8294A58C6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57030" y="2563115"/>
            <a:ext cx="247701" cy="247701"/>
          </a:xfrm>
          <a:prstGeom prst="rect">
            <a:avLst/>
          </a:prstGeom>
        </p:spPr>
      </p:pic>
      <p:pic>
        <p:nvPicPr>
          <p:cNvPr id="23" name="Graphic 5" descr="Badge New with solid fill">
            <a:extLst>
              <a:ext uri="{FF2B5EF4-FFF2-40B4-BE49-F238E27FC236}">
                <a16:creationId xmlns:a16="http://schemas.microsoft.com/office/drawing/2014/main" id="{200576E4-0CE8-3BA3-96DA-2C14DD80117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17415" y="2201652"/>
            <a:ext cx="247701" cy="247701"/>
          </a:xfrm>
          <a:prstGeom prst="rect">
            <a:avLst/>
          </a:prstGeom>
        </p:spPr>
      </p:pic>
      <p:pic>
        <p:nvPicPr>
          <p:cNvPr id="24" name="Graphic 5" descr="Badge New with solid fill">
            <a:extLst>
              <a:ext uri="{FF2B5EF4-FFF2-40B4-BE49-F238E27FC236}">
                <a16:creationId xmlns:a16="http://schemas.microsoft.com/office/drawing/2014/main" id="{63B38D4E-2D5F-C5CD-A780-64F224A92A4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42645" y="2397038"/>
            <a:ext cx="247701" cy="247701"/>
          </a:xfrm>
          <a:prstGeom prst="rect">
            <a:avLst/>
          </a:prstGeom>
        </p:spPr>
      </p:pic>
      <p:pic>
        <p:nvPicPr>
          <p:cNvPr id="26" name="Graphic 5" descr="Badge New with solid fill">
            <a:extLst>
              <a:ext uri="{FF2B5EF4-FFF2-40B4-BE49-F238E27FC236}">
                <a16:creationId xmlns:a16="http://schemas.microsoft.com/office/drawing/2014/main" id="{38D4E71D-842B-83DE-FBF5-F0C3442DD9B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98413" y="2318884"/>
            <a:ext cx="247701" cy="247701"/>
          </a:xfrm>
          <a:prstGeom prst="rect">
            <a:avLst/>
          </a:prstGeom>
        </p:spPr>
      </p:pic>
      <p:sp>
        <p:nvSpPr>
          <p:cNvPr id="25" name="Star: 5 Points 24">
            <a:extLst>
              <a:ext uri="{FF2B5EF4-FFF2-40B4-BE49-F238E27FC236}">
                <a16:creationId xmlns:a16="http://schemas.microsoft.com/office/drawing/2014/main" id="{7D3D0E9B-6BAA-933A-47D0-3EB503BC7446}"/>
              </a:ext>
            </a:extLst>
          </p:cNvPr>
          <p:cNvSpPr/>
          <p:nvPr/>
        </p:nvSpPr>
        <p:spPr>
          <a:xfrm>
            <a:off x="9386159" y="1708042"/>
            <a:ext cx="206644" cy="245390"/>
          </a:xfrm>
          <a:prstGeom prst="star5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8" name="Graphic 5" descr="Badge New with solid fill">
            <a:extLst>
              <a:ext uri="{FF2B5EF4-FFF2-40B4-BE49-F238E27FC236}">
                <a16:creationId xmlns:a16="http://schemas.microsoft.com/office/drawing/2014/main" id="{848AAE80-596F-FE82-C177-C05C6AB8F8E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151338" y="1928113"/>
            <a:ext cx="247701" cy="247701"/>
          </a:xfrm>
          <a:prstGeom prst="rect">
            <a:avLst/>
          </a:prstGeom>
        </p:spPr>
      </p:pic>
      <p:pic>
        <p:nvPicPr>
          <p:cNvPr id="6" name="Graphic 5" descr="Badge New with solid fill">
            <a:extLst>
              <a:ext uri="{FF2B5EF4-FFF2-40B4-BE49-F238E27FC236}">
                <a16:creationId xmlns:a16="http://schemas.microsoft.com/office/drawing/2014/main" id="{5327B7A2-63A5-A0F3-5D24-30437DC4EC3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53" y="2449128"/>
            <a:ext cx="701938" cy="682013"/>
          </a:xfrm>
          <a:prstGeom prst="rect">
            <a:avLst/>
          </a:prstGeom>
        </p:spPr>
      </p:pic>
      <p:sp>
        <p:nvSpPr>
          <p:cNvPr id="29" name="Star: 5 Points 28">
            <a:extLst>
              <a:ext uri="{FF2B5EF4-FFF2-40B4-BE49-F238E27FC236}">
                <a16:creationId xmlns:a16="http://schemas.microsoft.com/office/drawing/2014/main" id="{2683819D-B268-71D9-14BF-797BB85380F7}"/>
              </a:ext>
            </a:extLst>
          </p:cNvPr>
          <p:cNvSpPr/>
          <p:nvPr/>
        </p:nvSpPr>
        <p:spPr>
          <a:xfrm>
            <a:off x="48430" y="3796809"/>
            <a:ext cx="608118" cy="556458"/>
          </a:xfrm>
          <a:prstGeom prst="star5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Star: 5 Points 29">
            <a:extLst>
              <a:ext uri="{FF2B5EF4-FFF2-40B4-BE49-F238E27FC236}">
                <a16:creationId xmlns:a16="http://schemas.microsoft.com/office/drawing/2014/main" id="{F763E378-73B6-1F4B-4DAD-149C96EA667C}"/>
              </a:ext>
            </a:extLst>
          </p:cNvPr>
          <p:cNvSpPr/>
          <p:nvPr/>
        </p:nvSpPr>
        <p:spPr>
          <a:xfrm>
            <a:off x="10961819" y="2340889"/>
            <a:ext cx="206644" cy="245390"/>
          </a:xfrm>
          <a:prstGeom prst="star5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Star: 5 Points 32">
            <a:extLst>
              <a:ext uri="{FF2B5EF4-FFF2-40B4-BE49-F238E27FC236}">
                <a16:creationId xmlns:a16="http://schemas.microsoft.com/office/drawing/2014/main" id="{182BBC9E-CCFD-D001-DA79-3EDEA7622824}"/>
              </a:ext>
            </a:extLst>
          </p:cNvPr>
          <p:cNvSpPr/>
          <p:nvPr/>
        </p:nvSpPr>
        <p:spPr>
          <a:xfrm>
            <a:off x="10613108" y="1708042"/>
            <a:ext cx="206644" cy="245390"/>
          </a:xfrm>
          <a:prstGeom prst="star5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Star: 5 Points 33">
            <a:extLst>
              <a:ext uri="{FF2B5EF4-FFF2-40B4-BE49-F238E27FC236}">
                <a16:creationId xmlns:a16="http://schemas.microsoft.com/office/drawing/2014/main" id="{375895AA-05CB-B21F-ED9D-97BDBEDD8FFE}"/>
              </a:ext>
            </a:extLst>
          </p:cNvPr>
          <p:cNvSpPr/>
          <p:nvPr/>
        </p:nvSpPr>
        <p:spPr>
          <a:xfrm>
            <a:off x="10819751" y="2276312"/>
            <a:ext cx="206644" cy="245390"/>
          </a:xfrm>
          <a:prstGeom prst="star5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Star: 5 Points 35">
            <a:extLst>
              <a:ext uri="{FF2B5EF4-FFF2-40B4-BE49-F238E27FC236}">
                <a16:creationId xmlns:a16="http://schemas.microsoft.com/office/drawing/2014/main" id="{17C8ABA9-BD95-4A6D-3AF7-4AECB00E6D9F}"/>
              </a:ext>
            </a:extLst>
          </p:cNvPr>
          <p:cNvSpPr/>
          <p:nvPr/>
        </p:nvSpPr>
        <p:spPr>
          <a:xfrm>
            <a:off x="10109413" y="2392550"/>
            <a:ext cx="206644" cy="245390"/>
          </a:xfrm>
          <a:prstGeom prst="star5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Star: 5 Points 36">
            <a:extLst>
              <a:ext uri="{FF2B5EF4-FFF2-40B4-BE49-F238E27FC236}">
                <a16:creationId xmlns:a16="http://schemas.microsoft.com/office/drawing/2014/main" id="{7D7B2BC9-4203-17DA-0FB4-543CF6D55553}"/>
              </a:ext>
            </a:extLst>
          </p:cNvPr>
          <p:cNvSpPr/>
          <p:nvPr/>
        </p:nvSpPr>
        <p:spPr>
          <a:xfrm>
            <a:off x="10574362" y="2172991"/>
            <a:ext cx="206644" cy="245390"/>
          </a:xfrm>
          <a:prstGeom prst="star5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Star: 5 Points 37">
            <a:extLst>
              <a:ext uri="{FF2B5EF4-FFF2-40B4-BE49-F238E27FC236}">
                <a16:creationId xmlns:a16="http://schemas.microsoft.com/office/drawing/2014/main" id="{EB5E07AC-F0E4-A176-4894-8E8B3CB49707}"/>
              </a:ext>
            </a:extLst>
          </p:cNvPr>
          <p:cNvSpPr/>
          <p:nvPr/>
        </p:nvSpPr>
        <p:spPr>
          <a:xfrm>
            <a:off x="10186904" y="2560448"/>
            <a:ext cx="206644" cy="245390"/>
          </a:xfrm>
          <a:prstGeom prst="star5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tar: 5 Points 6">
            <a:extLst>
              <a:ext uri="{FF2B5EF4-FFF2-40B4-BE49-F238E27FC236}">
                <a16:creationId xmlns:a16="http://schemas.microsoft.com/office/drawing/2014/main" id="{713FDAB2-53D4-78F3-D399-3B8A3D2C8929}"/>
              </a:ext>
            </a:extLst>
          </p:cNvPr>
          <p:cNvSpPr/>
          <p:nvPr/>
        </p:nvSpPr>
        <p:spPr>
          <a:xfrm>
            <a:off x="10633431" y="2344293"/>
            <a:ext cx="206644" cy="245390"/>
          </a:xfrm>
          <a:prstGeom prst="star5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553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1571134" y="955812"/>
            <a:ext cx="9049732" cy="4946377"/>
            <a:chOff x="0" y="0"/>
            <a:chExt cx="3575203" cy="1954124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3575203" cy="1954124"/>
            </a:xfrm>
            <a:custGeom>
              <a:avLst/>
              <a:gdLst/>
              <a:ahLst/>
              <a:cxnLst/>
              <a:rect l="l" t="t" r="r" b="b"/>
              <a:pathLst>
                <a:path w="3575203" h="1954124">
                  <a:moveTo>
                    <a:pt x="29087" y="0"/>
                  </a:moveTo>
                  <a:lnTo>
                    <a:pt x="3546116" y="0"/>
                  </a:lnTo>
                  <a:cubicBezTo>
                    <a:pt x="3553830" y="0"/>
                    <a:pt x="3561229" y="3064"/>
                    <a:pt x="3566683" y="8519"/>
                  </a:cubicBezTo>
                  <a:cubicBezTo>
                    <a:pt x="3572138" y="13974"/>
                    <a:pt x="3575203" y="21372"/>
                    <a:pt x="3575203" y="29087"/>
                  </a:cubicBezTo>
                  <a:lnTo>
                    <a:pt x="3575203" y="1925038"/>
                  </a:lnTo>
                  <a:cubicBezTo>
                    <a:pt x="3575203" y="1941102"/>
                    <a:pt x="3562180" y="1954124"/>
                    <a:pt x="3546116" y="1954124"/>
                  </a:cubicBezTo>
                  <a:lnTo>
                    <a:pt x="29087" y="1954124"/>
                  </a:lnTo>
                  <a:cubicBezTo>
                    <a:pt x="13022" y="1954124"/>
                    <a:pt x="0" y="1941102"/>
                    <a:pt x="0" y="1925038"/>
                  </a:cubicBezTo>
                  <a:lnTo>
                    <a:pt x="0" y="29087"/>
                  </a:lnTo>
                  <a:cubicBezTo>
                    <a:pt x="0" y="13022"/>
                    <a:pt x="13022" y="0"/>
                    <a:pt x="29087" y="0"/>
                  </a:cubicBezTo>
                  <a:close/>
                </a:path>
              </a:pathLst>
            </a:custGeom>
            <a:solidFill>
              <a:srgbClr val="FFE3A2">
                <a:alpha val="30980"/>
              </a:srgbClr>
            </a:solidFill>
          </p:spPr>
        </p:sp>
        <p:sp>
          <p:nvSpPr>
            <p:cNvPr id="4" name="TextBox 4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5" name="TextBox 5"/>
          <p:cNvSpPr txBox="1"/>
          <p:nvPr/>
        </p:nvSpPr>
        <p:spPr>
          <a:xfrm>
            <a:off x="1444134" y="1310854"/>
            <a:ext cx="9285627" cy="120738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666"/>
              </a:lnSpc>
            </a:pPr>
            <a:r>
              <a:rPr lang="en-US" sz="4650" spc="233">
                <a:solidFill>
                  <a:srgbClr val="004AAD"/>
                </a:solidFill>
                <a:latin typeface="Hammersmith One"/>
              </a:rPr>
              <a:t>Birth Equity</a:t>
            </a:r>
            <a:endParaRPr lang="en-US" sz="4666" spc="233">
              <a:solidFill>
                <a:srgbClr val="004AAD"/>
              </a:solidFill>
              <a:latin typeface="Hammersmith One"/>
            </a:endParaRPr>
          </a:p>
          <a:p>
            <a:pPr algn="ctr">
              <a:lnSpc>
                <a:spcPts val="4467"/>
              </a:lnSpc>
            </a:pPr>
            <a:r>
              <a:rPr lang="en-US" sz="4450" spc="223">
                <a:solidFill>
                  <a:srgbClr val="004AAD"/>
                </a:solidFill>
                <a:latin typeface="Hammersmith One"/>
              </a:rPr>
              <a:t>Patient Partner Recognition</a:t>
            </a:r>
            <a:endParaRPr lang="en-US"/>
          </a:p>
        </p:txBody>
      </p:sp>
      <p:sp>
        <p:nvSpPr>
          <p:cNvPr id="6" name="Freeform 6"/>
          <p:cNvSpPr/>
          <p:nvPr/>
        </p:nvSpPr>
        <p:spPr>
          <a:xfrm>
            <a:off x="5226060" y="94071"/>
            <a:ext cx="1715856" cy="861741"/>
          </a:xfrm>
          <a:custGeom>
            <a:avLst/>
            <a:gdLst/>
            <a:ahLst/>
            <a:cxnLst/>
            <a:rect l="l" t="t" r="r" b="b"/>
            <a:pathLst>
              <a:path w="2573784" h="1292611">
                <a:moveTo>
                  <a:pt x="0" y="0"/>
                </a:moveTo>
                <a:lnTo>
                  <a:pt x="2573783" y="0"/>
                </a:lnTo>
                <a:lnTo>
                  <a:pt x="2573783" y="1292611"/>
                </a:lnTo>
                <a:lnTo>
                  <a:pt x="0" y="1292611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</p:sp>
      <p:sp>
        <p:nvSpPr>
          <p:cNvPr id="7" name="Freeform 7"/>
          <p:cNvSpPr/>
          <p:nvPr/>
        </p:nvSpPr>
        <p:spPr>
          <a:xfrm rot="20970386">
            <a:off x="-151947" y="216792"/>
            <a:ext cx="5480877" cy="1305445"/>
          </a:xfrm>
          <a:custGeom>
            <a:avLst/>
            <a:gdLst/>
            <a:ahLst/>
            <a:cxnLst/>
            <a:rect l="l" t="t" r="r" b="b"/>
            <a:pathLst>
              <a:path w="8221315" h="1958168">
                <a:moveTo>
                  <a:pt x="0" y="0"/>
                </a:moveTo>
                <a:lnTo>
                  <a:pt x="8221315" y="0"/>
                </a:lnTo>
                <a:lnTo>
                  <a:pt x="8221315" y="1958167"/>
                </a:lnTo>
                <a:lnTo>
                  <a:pt x="0" y="1958167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</p:sp>
      <p:sp>
        <p:nvSpPr>
          <p:cNvPr id="8" name="Freeform 8"/>
          <p:cNvSpPr/>
          <p:nvPr/>
        </p:nvSpPr>
        <p:spPr>
          <a:xfrm rot="713378" flipH="1">
            <a:off x="6738206" y="216792"/>
            <a:ext cx="5480877" cy="1305445"/>
          </a:xfrm>
          <a:custGeom>
            <a:avLst/>
            <a:gdLst/>
            <a:ahLst/>
            <a:cxnLst/>
            <a:rect l="l" t="t" r="r" b="b"/>
            <a:pathLst>
              <a:path w="8221315" h="1958168">
                <a:moveTo>
                  <a:pt x="8221315" y="0"/>
                </a:moveTo>
                <a:lnTo>
                  <a:pt x="0" y="0"/>
                </a:lnTo>
                <a:lnTo>
                  <a:pt x="0" y="1958167"/>
                </a:lnTo>
                <a:lnTo>
                  <a:pt x="8221315" y="1958167"/>
                </a:lnTo>
                <a:lnTo>
                  <a:pt x="8221315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</p:sp>
      <p:sp>
        <p:nvSpPr>
          <p:cNvPr id="9" name="Freeform 9"/>
          <p:cNvSpPr/>
          <p:nvPr/>
        </p:nvSpPr>
        <p:spPr>
          <a:xfrm>
            <a:off x="10778006" y="2072839"/>
            <a:ext cx="1051138" cy="888689"/>
          </a:xfrm>
          <a:custGeom>
            <a:avLst/>
            <a:gdLst/>
            <a:ahLst/>
            <a:cxnLst/>
            <a:rect l="l" t="t" r="r" b="b"/>
            <a:pathLst>
              <a:path w="1576707" h="1333034">
                <a:moveTo>
                  <a:pt x="0" y="0"/>
                </a:moveTo>
                <a:lnTo>
                  <a:pt x="1576707" y="0"/>
                </a:lnTo>
                <a:lnTo>
                  <a:pt x="1576707" y="1333035"/>
                </a:lnTo>
                <a:lnTo>
                  <a:pt x="0" y="1333035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10" name="Freeform 10"/>
          <p:cNvSpPr/>
          <p:nvPr/>
        </p:nvSpPr>
        <p:spPr>
          <a:xfrm rot="18149423">
            <a:off x="7503050" y="5555494"/>
            <a:ext cx="1139262" cy="963194"/>
          </a:xfrm>
          <a:custGeom>
            <a:avLst/>
            <a:gdLst/>
            <a:ahLst/>
            <a:cxnLst/>
            <a:rect l="l" t="t" r="r" b="b"/>
            <a:pathLst>
              <a:path w="1708893" h="1444791">
                <a:moveTo>
                  <a:pt x="0" y="0"/>
                </a:moveTo>
                <a:lnTo>
                  <a:pt x="1708893" y="0"/>
                </a:lnTo>
                <a:lnTo>
                  <a:pt x="1708893" y="1444791"/>
                </a:lnTo>
                <a:lnTo>
                  <a:pt x="0" y="1444791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11" name="Freeform 11"/>
          <p:cNvSpPr/>
          <p:nvPr/>
        </p:nvSpPr>
        <p:spPr>
          <a:xfrm rot="13622187">
            <a:off x="80120" y="2254531"/>
            <a:ext cx="1296407" cy="1096053"/>
          </a:xfrm>
          <a:custGeom>
            <a:avLst/>
            <a:gdLst/>
            <a:ahLst/>
            <a:cxnLst/>
            <a:rect l="l" t="t" r="r" b="b"/>
            <a:pathLst>
              <a:path w="1944611" h="1644080">
                <a:moveTo>
                  <a:pt x="0" y="0"/>
                </a:moveTo>
                <a:lnTo>
                  <a:pt x="1944611" y="0"/>
                </a:lnTo>
                <a:lnTo>
                  <a:pt x="1944611" y="1644080"/>
                </a:lnTo>
                <a:lnTo>
                  <a:pt x="0" y="1644080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12" name="Freeform 12"/>
          <p:cNvSpPr/>
          <p:nvPr/>
        </p:nvSpPr>
        <p:spPr>
          <a:xfrm rot="10549370">
            <a:off x="2919875" y="5643770"/>
            <a:ext cx="863108" cy="729719"/>
          </a:xfrm>
          <a:custGeom>
            <a:avLst/>
            <a:gdLst/>
            <a:ahLst/>
            <a:cxnLst/>
            <a:rect l="l" t="t" r="r" b="b"/>
            <a:pathLst>
              <a:path w="1294662" h="1094578">
                <a:moveTo>
                  <a:pt x="0" y="0"/>
                </a:moveTo>
                <a:lnTo>
                  <a:pt x="1294662" y="0"/>
                </a:lnTo>
                <a:lnTo>
                  <a:pt x="1294662" y="1094578"/>
                </a:lnTo>
                <a:lnTo>
                  <a:pt x="0" y="1094578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13" name="Freeform 13"/>
          <p:cNvSpPr/>
          <p:nvPr/>
        </p:nvSpPr>
        <p:spPr>
          <a:xfrm rot="17672419">
            <a:off x="212649" y="3568811"/>
            <a:ext cx="1883803" cy="1678297"/>
          </a:xfrm>
          <a:custGeom>
            <a:avLst/>
            <a:gdLst/>
            <a:ahLst/>
            <a:cxnLst/>
            <a:rect l="l" t="t" r="r" b="b"/>
            <a:pathLst>
              <a:path w="2825704" h="2517445">
                <a:moveTo>
                  <a:pt x="0" y="0"/>
                </a:moveTo>
                <a:lnTo>
                  <a:pt x="2825704" y="0"/>
                </a:lnTo>
                <a:lnTo>
                  <a:pt x="2825704" y="2517446"/>
                </a:lnTo>
                <a:lnTo>
                  <a:pt x="0" y="2517446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</p:sp>
      <p:sp>
        <p:nvSpPr>
          <p:cNvPr id="14" name="Freeform 14"/>
          <p:cNvSpPr/>
          <p:nvPr/>
        </p:nvSpPr>
        <p:spPr>
          <a:xfrm rot="17672419">
            <a:off x="10095548" y="3568811"/>
            <a:ext cx="1883803" cy="1678297"/>
          </a:xfrm>
          <a:custGeom>
            <a:avLst/>
            <a:gdLst/>
            <a:ahLst/>
            <a:cxnLst/>
            <a:rect l="l" t="t" r="r" b="b"/>
            <a:pathLst>
              <a:path w="2825704" h="2517445">
                <a:moveTo>
                  <a:pt x="0" y="0"/>
                </a:moveTo>
                <a:lnTo>
                  <a:pt x="2825704" y="0"/>
                </a:lnTo>
                <a:lnTo>
                  <a:pt x="2825704" y="2517446"/>
                </a:lnTo>
                <a:lnTo>
                  <a:pt x="0" y="2517446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</p:sp>
      <p:sp>
        <p:nvSpPr>
          <p:cNvPr id="15" name="Freeform 15"/>
          <p:cNvSpPr/>
          <p:nvPr/>
        </p:nvSpPr>
        <p:spPr>
          <a:xfrm rot="1207093">
            <a:off x="5367594" y="5581678"/>
            <a:ext cx="1153393" cy="1027569"/>
          </a:xfrm>
          <a:custGeom>
            <a:avLst/>
            <a:gdLst/>
            <a:ahLst/>
            <a:cxnLst/>
            <a:rect l="l" t="t" r="r" b="b"/>
            <a:pathLst>
              <a:path w="1730090" h="1541353">
                <a:moveTo>
                  <a:pt x="0" y="0"/>
                </a:moveTo>
                <a:lnTo>
                  <a:pt x="1730089" y="0"/>
                </a:lnTo>
                <a:lnTo>
                  <a:pt x="1730089" y="1541353"/>
                </a:lnTo>
                <a:lnTo>
                  <a:pt x="0" y="1541353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F5DAE25-C72F-2DE7-7651-0AA0F5802197}"/>
              </a:ext>
            </a:extLst>
          </p:cNvPr>
          <p:cNvSpPr txBox="1"/>
          <p:nvPr/>
        </p:nvSpPr>
        <p:spPr>
          <a:xfrm>
            <a:off x="2574973" y="2517791"/>
            <a:ext cx="7028582" cy="32316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400" b="1">
                <a:solidFill>
                  <a:schemeClr val="tx2"/>
                </a:solidFill>
                <a:cs typeface="Arial"/>
              </a:rPr>
              <a:t>Congrats to the following teams &amp; patient partners! </a:t>
            </a:r>
            <a:r>
              <a:rPr lang="en-US" sz="2400">
                <a:solidFill>
                  <a:schemeClr val="tx2"/>
                </a:solidFill>
                <a:cs typeface="Arial"/>
              </a:rPr>
              <a:t>​</a:t>
            </a:r>
            <a:endParaRPr lang="en-US" sz="2400">
              <a:solidFill>
                <a:schemeClr val="tx2"/>
              </a:solidFill>
              <a:ea typeface="Calibri"/>
              <a:cs typeface="Arial"/>
            </a:endParaRPr>
          </a:p>
          <a:p>
            <a:pPr algn="ctr"/>
            <a:r>
              <a:rPr lang="en-US" sz="2000">
                <a:solidFill>
                  <a:schemeClr val="tx2"/>
                </a:solidFill>
                <a:ea typeface="Calibri"/>
                <a:cs typeface="Arial"/>
              </a:rPr>
              <a:t>Carle Foundation Hospital – Keshia Lewis</a:t>
            </a:r>
          </a:p>
          <a:p>
            <a:pPr algn="ctr"/>
            <a:r>
              <a:rPr lang="en-US" sz="2000">
                <a:solidFill>
                  <a:schemeClr val="tx2"/>
                </a:solidFill>
                <a:ea typeface="Calibri"/>
                <a:cs typeface="Arial"/>
              </a:rPr>
              <a:t>FHN Memorial Hospital – Maddy Brenner</a:t>
            </a:r>
            <a:endParaRPr lang="en-US">
              <a:solidFill>
                <a:schemeClr val="tx2"/>
              </a:solidFill>
            </a:endParaRPr>
          </a:p>
          <a:p>
            <a:pPr algn="ctr"/>
            <a:r>
              <a:rPr lang="en-US" sz="2000">
                <a:solidFill>
                  <a:schemeClr val="tx2"/>
                </a:solidFill>
                <a:ea typeface="Calibri"/>
                <a:cs typeface="Arial"/>
              </a:rPr>
              <a:t>MacNeal Hospital – Alexandra Belmontes</a:t>
            </a:r>
          </a:p>
          <a:p>
            <a:pPr algn="ctr"/>
            <a:r>
              <a:rPr lang="en-US" sz="2000">
                <a:solidFill>
                  <a:schemeClr val="tx2"/>
                </a:solidFill>
                <a:ea typeface="Calibri"/>
                <a:cs typeface="Arial"/>
              </a:rPr>
              <a:t>Northwest Community Hospital – Adrianne Musni</a:t>
            </a:r>
          </a:p>
          <a:p>
            <a:pPr algn="ctr"/>
            <a:r>
              <a:rPr lang="en-US" sz="2000">
                <a:solidFill>
                  <a:schemeClr val="tx2"/>
                </a:solidFill>
                <a:ea typeface="Calibri"/>
                <a:cs typeface="Arial"/>
              </a:rPr>
              <a:t>Northwestern Memorial Hospital – Kristi Noonan</a:t>
            </a:r>
          </a:p>
          <a:p>
            <a:pPr algn="ctr"/>
            <a:r>
              <a:rPr lang="en-US" sz="2000">
                <a:solidFill>
                  <a:schemeClr val="tx2"/>
                </a:solidFill>
                <a:ea typeface="Calibri"/>
                <a:cs typeface="Arial"/>
              </a:rPr>
              <a:t>Rush Copley Medical Center – Priscilla Rowan</a:t>
            </a:r>
          </a:p>
          <a:p>
            <a:pPr algn="ctr"/>
            <a:r>
              <a:rPr lang="en-US" sz="2000">
                <a:solidFill>
                  <a:schemeClr val="tx2"/>
                </a:solidFill>
                <a:ea typeface="Calibri"/>
                <a:cs typeface="Arial"/>
              </a:rPr>
              <a:t>UI Health – Kristal Pitts</a:t>
            </a:r>
          </a:p>
          <a:p>
            <a:pPr algn="ctr"/>
            <a:r>
              <a:rPr lang="en-US" sz="2000">
                <a:solidFill>
                  <a:schemeClr val="tx2"/>
                </a:solidFill>
                <a:ea typeface="Calibri"/>
                <a:cs typeface="Arial"/>
              </a:rPr>
              <a:t>Vista Medical Center – Robbie Myers</a:t>
            </a:r>
          </a:p>
          <a:p>
            <a:pPr marL="342900" indent="-342900">
              <a:buFont typeface="Wingdings"/>
              <a:buChar char="ü"/>
            </a:pPr>
            <a:endParaRPr lang="en-US" sz="2000">
              <a:solidFill>
                <a:schemeClr val="tx2"/>
              </a:solidFill>
              <a:ea typeface="Calibri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292018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1571134" y="955812"/>
            <a:ext cx="9049732" cy="4946377"/>
            <a:chOff x="0" y="0"/>
            <a:chExt cx="3575203" cy="1954124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3575203" cy="1954124"/>
            </a:xfrm>
            <a:custGeom>
              <a:avLst/>
              <a:gdLst/>
              <a:ahLst/>
              <a:cxnLst/>
              <a:rect l="l" t="t" r="r" b="b"/>
              <a:pathLst>
                <a:path w="3575203" h="1954124">
                  <a:moveTo>
                    <a:pt x="29087" y="0"/>
                  </a:moveTo>
                  <a:lnTo>
                    <a:pt x="3546116" y="0"/>
                  </a:lnTo>
                  <a:cubicBezTo>
                    <a:pt x="3553830" y="0"/>
                    <a:pt x="3561229" y="3064"/>
                    <a:pt x="3566683" y="8519"/>
                  </a:cubicBezTo>
                  <a:cubicBezTo>
                    <a:pt x="3572138" y="13974"/>
                    <a:pt x="3575203" y="21372"/>
                    <a:pt x="3575203" y="29087"/>
                  </a:cubicBezTo>
                  <a:lnTo>
                    <a:pt x="3575203" y="1925038"/>
                  </a:lnTo>
                  <a:cubicBezTo>
                    <a:pt x="3575203" y="1941102"/>
                    <a:pt x="3562180" y="1954124"/>
                    <a:pt x="3546116" y="1954124"/>
                  </a:cubicBezTo>
                  <a:lnTo>
                    <a:pt x="29087" y="1954124"/>
                  </a:lnTo>
                  <a:cubicBezTo>
                    <a:pt x="13022" y="1954124"/>
                    <a:pt x="0" y="1941102"/>
                    <a:pt x="0" y="1925038"/>
                  </a:cubicBezTo>
                  <a:lnTo>
                    <a:pt x="0" y="29087"/>
                  </a:lnTo>
                  <a:cubicBezTo>
                    <a:pt x="0" y="13022"/>
                    <a:pt x="13022" y="0"/>
                    <a:pt x="29087" y="0"/>
                  </a:cubicBezTo>
                  <a:close/>
                </a:path>
              </a:pathLst>
            </a:custGeom>
            <a:solidFill>
              <a:srgbClr val="FFE3A2">
                <a:alpha val="30980"/>
              </a:srgbClr>
            </a:solidFill>
          </p:spPr>
        </p:sp>
        <p:sp>
          <p:nvSpPr>
            <p:cNvPr id="4" name="TextBox 4"/>
            <p:cNvSpPr txBox="1"/>
            <p:nvPr/>
          </p:nvSpPr>
          <p:spPr>
            <a:xfrm>
              <a:off x="0" y="-47625"/>
              <a:ext cx="812800" cy="8604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5" name="TextBox 5"/>
          <p:cNvSpPr txBox="1"/>
          <p:nvPr/>
        </p:nvSpPr>
        <p:spPr>
          <a:xfrm>
            <a:off x="377334" y="995168"/>
            <a:ext cx="11419227" cy="12067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666"/>
              </a:lnSpc>
            </a:pPr>
            <a:r>
              <a:rPr lang="en-US" sz="4650" spc="233">
                <a:solidFill>
                  <a:srgbClr val="004AAD"/>
                </a:solidFill>
                <a:latin typeface="Hammersmith One"/>
              </a:rPr>
              <a:t>Birth Equity</a:t>
            </a:r>
            <a:endParaRPr lang="en-US" sz="4666" spc="233">
              <a:solidFill>
                <a:srgbClr val="004AAD"/>
              </a:solidFill>
              <a:latin typeface="Hammersmith One"/>
            </a:endParaRPr>
          </a:p>
          <a:p>
            <a:pPr algn="ctr">
              <a:lnSpc>
                <a:spcPts val="4467"/>
              </a:lnSpc>
            </a:pPr>
            <a:r>
              <a:rPr lang="en-US" sz="3600" spc="223">
                <a:solidFill>
                  <a:srgbClr val="004AAD"/>
                </a:solidFill>
                <a:latin typeface="Hammersmith One"/>
              </a:rPr>
              <a:t>Respectful Care Breakfast Recognition</a:t>
            </a:r>
            <a:endParaRPr lang="en-US" sz="3600"/>
          </a:p>
        </p:txBody>
      </p:sp>
      <p:sp>
        <p:nvSpPr>
          <p:cNvPr id="6" name="Freeform 6"/>
          <p:cNvSpPr/>
          <p:nvPr/>
        </p:nvSpPr>
        <p:spPr>
          <a:xfrm>
            <a:off x="5226060" y="94071"/>
            <a:ext cx="1715856" cy="861741"/>
          </a:xfrm>
          <a:custGeom>
            <a:avLst/>
            <a:gdLst/>
            <a:ahLst/>
            <a:cxnLst/>
            <a:rect l="l" t="t" r="r" b="b"/>
            <a:pathLst>
              <a:path w="2573784" h="1292611">
                <a:moveTo>
                  <a:pt x="0" y="0"/>
                </a:moveTo>
                <a:lnTo>
                  <a:pt x="2573783" y="0"/>
                </a:lnTo>
                <a:lnTo>
                  <a:pt x="2573783" y="1292611"/>
                </a:lnTo>
                <a:lnTo>
                  <a:pt x="0" y="1292611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</p:sp>
      <p:sp>
        <p:nvSpPr>
          <p:cNvPr id="7" name="Freeform 7"/>
          <p:cNvSpPr/>
          <p:nvPr/>
        </p:nvSpPr>
        <p:spPr>
          <a:xfrm rot="20970386">
            <a:off x="-151947" y="216792"/>
            <a:ext cx="5480877" cy="1305445"/>
          </a:xfrm>
          <a:custGeom>
            <a:avLst/>
            <a:gdLst/>
            <a:ahLst/>
            <a:cxnLst/>
            <a:rect l="l" t="t" r="r" b="b"/>
            <a:pathLst>
              <a:path w="8221315" h="1958168">
                <a:moveTo>
                  <a:pt x="0" y="0"/>
                </a:moveTo>
                <a:lnTo>
                  <a:pt x="8221315" y="0"/>
                </a:lnTo>
                <a:lnTo>
                  <a:pt x="8221315" y="1958167"/>
                </a:lnTo>
                <a:lnTo>
                  <a:pt x="0" y="1958167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</p:sp>
      <p:sp>
        <p:nvSpPr>
          <p:cNvPr id="8" name="Freeform 8"/>
          <p:cNvSpPr/>
          <p:nvPr/>
        </p:nvSpPr>
        <p:spPr>
          <a:xfrm rot="713378" flipH="1">
            <a:off x="6738206" y="216792"/>
            <a:ext cx="5480877" cy="1305445"/>
          </a:xfrm>
          <a:custGeom>
            <a:avLst/>
            <a:gdLst/>
            <a:ahLst/>
            <a:cxnLst/>
            <a:rect l="l" t="t" r="r" b="b"/>
            <a:pathLst>
              <a:path w="8221315" h="1958168">
                <a:moveTo>
                  <a:pt x="8221315" y="0"/>
                </a:moveTo>
                <a:lnTo>
                  <a:pt x="0" y="0"/>
                </a:lnTo>
                <a:lnTo>
                  <a:pt x="0" y="1958167"/>
                </a:lnTo>
                <a:lnTo>
                  <a:pt x="8221315" y="1958167"/>
                </a:lnTo>
                <a:lnTo>
                  <a:pt x="8221315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</p:sp>
      <p:sp>
        <p:nvSpPr>
          <p:cNvPr id="9" name="Freeform 9"/>
          <p:cNvSpPr/>
          <p:nvPr/>
        </p:nvSpPr>
        <p:spPr>
          <a:xfrm>
            <a:off x="10778006" y="2072839"/>
            <a:ext cx="1051138" cy="888689"/>
          </a:xfrm>
          <a:custGeom>
            <a:avLst/>
            <a:gdLst/>
            <a:ahLst/>
            <a:cxnLst/>
            <a:rect l="l" t="t" r="r" b="b"/>
            <a:pathLst>
              <a:path w="1576707" h="1333034">
                <a:moveTo>
                  <a:pt x="0" y="0"/>
                </a:moveTo>
                <a:lnTo>
                  <a:pt x="1576707" y="0"/>
                </a:lnTo>
                <a:lnTo>
                  <a:pt x="1576707" y="1333035"/>
                </a:lnTo>
                <a:lnTo>
                  <a:pt x="0" y="1333035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10" name="Freeform 10"/>
          <p:cNvSpPr/>
          <p:nvPr/>
        </p:nvSpPr>
        <p:spPr>
          <a:xfrm rot="18149423">
            <a:off x="7503050" y="5555494"/>
            <a:ext cx="1139262" cy="963194"/>
          </a:xfrm>
          <a:custGeom>
            <a:avLst/>
            <a:gdLst/>
            <a:ahLst/>
            <a:cxnLst/>
            <a:rect l="l" t="t" r="r" b="b"/>
            <a:pathLst>
              <a:path w="1708893" h="1444791">
                <a:moveTo>
                  <a:pt x="0" y="0"/>
                </a:moveTo>
                <a:lnTo>
                  <a:pt x="1708893" y="0"/>
                </a:lnTo>
                <a:lnTo>
                  <a:pt x="1708893" y="1444791"/>
                </a:lnTo>
                <a:lnTo>
                  <a:pt x="0" y="1444791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11" name="Freeform 11"/>
          <p:cNvSpPr/>
          <p:nvPr/>
        </p:nvSpPr>
        <p:spPr>
          <a:xfrm rot="13622187">
            <a:off x="80120" y="2254531"/>
            <a:ext cx="1296407" cy="1096053"/>
          </a:xfrm>
          <a:custGeom>
            <a:avLst/>
            <a:gdLst/>
            <a:ahLst/>
            <a:cxnLst/>
            <a:rect l="l" t="t" r="r" b="b"/>
            <a:pathLst>
              <a:path w="1944611" h="1644080">
                <a:moveTo>
                  <a:pt x="0" y="0"/>
                </a:moveTo>
                <a:lnTo>
                  <a:pt x="1944611" y="0"/>
                </a:lnTo>
                <a:lnTo>
                  <a:pt x="1944611" y="1644080"/>
                </a:lnTo>
                <a:lnTo>
                  <a:pt x="0" y="1644080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12" name="Freeform 12"/>
          <p:cNvSpPr/>
          <p:nvPr/>
        </p:nvSpPr>
        <p:spPr>
          <a:xfrm rot="10549370">
            <a:off x="2919875" y="5643770"/>
            <a:ext cx="863108" cy="729719"/>
          </a:xfrm>
          <a:custGeom>
            <a:avLst/>
            <a:gdLst/>
            <a:ahLst/>
            <a:cxnLst/>
            <a:rect l="l" t="t" r="r" b="b"/>
            <a:pathLst>
              <a:path w="1294662" h="1094578">
                <a:moveTo>
                  <a:pt x="0" y="0"/>
                </a:moveTo>
                <a:lnTo>
                  <a:pt x="1294662" y="0"/>
                </a:lnTo>
                <a:lnTo>
                  <a:pt x="1294662" y="1094578"/>
                </a:lnTo>
                <a:lnTo>
                  <a:pt x="0" y="1094578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13" name="Freeform 13"/>
          <p:cNvSpPr/>
          <p:nvPr/>
        </p:nvSpPr>
        <p:spPr>
          <a:xfrm rot="17672419">
            <a:off x="212649" y="3568811"/>
            <a:ext cx="1883803" cy="1678297"/>
          </a:xfrm>
          <a:custGeom>
            <a:avLst/>
            <a:gdLst/>
            <a:ahLst/>
            <a:cxnLst/>
            <a:rect l="l" t="t" r="r" b="b"/>
            <a:pathLst>
              <a:path w="2825704" h="2517445">
                <a:moveTo>
                  <a:pt x="0" y="0"/>
                </a:moveTo>
                <a:lnTo>
                  <a:pt x="2825704" y="0"/>
                </a:lnTo>
                <a:lnTo>
                  <a:pt x="2825704" y="2517446"/>
                </a:lnTo>
                <a:lnTo>
                  <a:pt x="0" y="2517446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</p:sp>
      <p:sp>
        <p:nvSpPr>
          <p:cNvPr id="14" name="Freeform 14"/>
          <p:cNvSpPr/>
          <p:nvPr/>
        </p:nvSpPr>
        <p:spPr>
          <a:xfrm rot="17672419">
            <a:off x="10095548" y="3568811"/>
            <a:ext cx="1883803" cy="1678297"/>
          </a:xfrm>
          <a:custGeom>
            <a:avLst/>
            <a:gdLst/>
            <a:ahLst/>
            <a:cxnLst/>
            <a:rect l="l" t="t" r="r" b="b"/>
            <a:pathLst>
              <a:path w="2825704" h="2517445">
                <a:moveTo>
                  <a:pt x="0" y="0"/>
                </a:moveTo>
                <a:lnTo>
                  <a:pt x="2825704" y="0"/>
                </a:lnTo>
                <a:lnTo>
                  <a:pt x="2825704" y="2517446"/>
                </a:lnTo>
                <a:lnTo>
                  <a:pt x="0" y="2517446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</p:sp>
      <p:sp>
        <p:nvSpPr>
          <p:cNvPr id="15" name="Freeform 15"/>
          <p:cNvSpPr/>
          <p:nvPr/>
        </p:nvSpPr>
        <p:spPr>
          <a:xfrm rot="1207093">
            <a:off x="5367594" y="5581678"/>
            <a:ext cx="1153393" cy="1027569"/>
          </a:xfrm>
          <a:custGeom>
            <a:avLst/>
            <a:gdLst/>
            <a:ahLst/>
            <a:cxnLst/>
            <a:rect l="l" t="t" r="r" b="b"/>
            <a:pathLst>
              <a:path w="1730090" h="1541353">
                <a:moveTo>
                  <a:pt x="0" y="0"/>
                </a:moveTo>
                <a:lnTo>
                  <a:pt x="1730089" y="0"/>
                </a:lnTo>
                <a:lnTo>
                  <a:pt x="1730089" y="1541353"/>
                </a:lnTo>
                <a:lnTo>
                  <a:pt x="0" y="1541353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F5DAE25-C72F-2DE7-7651-0AA0F5802197}"/>
              </a:ext>
            </a:extLst>
          </p:cNvPr>
          <p:cNvSpPr txBox="1"/>
          <p:nvPr/>
        </p:nvSpPr>
        <p:spPr>
          <a:xfrm>
            <a:off x="807380" y="2206999"/>
            <a:ext cx="6180318" cy="378565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sz="2000">
              <a:solidFill>
                <a:schemeClr val="tx2"/>
              </a:solidFill>
              <a:ea typeface="Calibri"/>
              <a:cs typeface="Arial"/>
            </a:endParaRPr>
          </a:p>
          <a:p>
            <a:pPr algn="ctr"/>
            <a:r>
              <a:rPr lang="en-US" sz="2000">
                <a:solidFill>
                  <a:schemeClr val="tx2"/>
                </a:solidFill>
                <a:ea typeface="Calibri"/>
                <a:cs typeface="Arial"/>
              </a:rPr>
              <a:t>Advocate Aurora Sherman Hospital</a:t>
            </a:r>
            <a:endParaRPr lang="en-US">
              <a:solidFill>
                <a:schemeClr val="tx2"/>
              </a:solidFill>
              <a:cs typeface="Calibri"/>
            </a:endParaRPr>
          </a:p>
          <a:p>
            <a:pPr algn="ctr"/>
            <a:r>
              <a:rPr lang="en-US" sz="2000">
                <a:solidFill>
                  <a:schemeClr val="tx2"/>
                </a:solidFill>
                <a:ea typeface="Calibri"/>
                <a:cs typeface="Arial"/>
              </a:rPr>
              <a:t>Barnes-Jewish Hospital</a:t>
            </a:r>
            <a:endParaRPr lang="en-US">
              <a:solidFill>
                <a:schemeClr val="tx2"/>
              </a:solidFill>
            </a:endParaRPr>
          </a:p>
          <a:p>
            <a:pPr algn="ctr"/>
            <a:r>
              <a:rPr lang="en-US" sz="2000">
                <a:solidFill>
                  <a:schemeClr val="tx2"/>
                </a:solidFill>
                <a:ea typeface="Calibri"/>
                <a:cs typeface="Arial"/>
              </a:rPr>
              <a:t>Carle Foundation Hospital</a:t>
            </a:r>
          </a:p>
          <a:p>
            <a:pPr algn="ctr"/>
            <a:r>
              <a:rPr lang="en-US" sz="2000">
                <a:solidFill>
                  <a:schemeClr val="tx2"/>
                </a:solidFill>
                <a:ea typeface="Calibri"/>
                <a:cs typeface="Arial"/>
              </a:rPr>
              <a:t>Elmhurst Hospital</a:t>
            </a:r>
          </a:p>
          <a:p>
            <a:pPr algn="ctr"/>
            <a:r>
              <a:rPr lang="en-US" sz="2000">
                <a:solidFill>
                  <a:schemeClr val="tx2"/>
                </a:solidFill>
                <a:ea typeface="Calibri"/>
                <a:cs typeface="Arial"/>
              </a:rPr>
              <a:t>FHN Memorial Hospital</a:t>
            </a:r>
          </a:p>
          <a:p>
            <a:pPr algn="ctr"/>
            <a:r>
              <a:rPr lang="en-US" sz="2000">
                <a:solidFill>
                  <a:schemeClr val="tx2"/>
                </a:solidFill>
                <a:ea typeface="Calibri"/>
                <a:cs typeface="Arial"/>
              </a:rPr>
              <a:t>MacNeal Hospital</a:t>
            </a:r>
          </a:p>
          <a:p>
            <a:pPr algn="ctr"/>
            <a:r>
              <a:rPr lang="en-US" sz="2000">
                <a:solidFill>
                  <a:schemeClr val="tx2"/>
                </a:solidFill>
                <a:ea typeface="Calibri"/>
                <a:cs typeface="Arial"/>
              </a:rPr>
              <a:t>Memorial Hospital of Carbondale</a:t>
            </a:r>
          </a:p>
          <a:p>
            <a:pPr algn="ctr"/>
            <a:r>
              <a:rPr lang="en-US" sz="2000">
                <a:solidFill>
                  <a:schemeClr val="tx2"/>
                </a:solidFill>
                <a:ea typeface="Calibri"/>
                <a:cs typeface="Arial"/>
              </a:rPr>
              <a:t>Memorial Medical Center</a:t>
            </a:r>
          </a:p>
          <a:p>
            <a:pPr algn="ctr"/>
            <a:r>
              <a:rPr lang="en-US" sz="2000">
                <a:solidFill>
                  <a:schemeClr val="tx2"/>
                </a:solidFill>
                <a:ea typeface="Calibri"/>
                <a:cs typeface="Arial"/>
              </a:rPr>
              <a:t>NM </a:t>
            </a:r>
            <a:r>
              <a:rPr lang="en-US" sz="2000" err="1">
                <a:solidFill>
                  <a:schemeClr val="tx2"/>
                </a:solidFill>
                <a:ea typeface="Calibri"/>
                <a:cs typeface="Arial"/>
              </a:rPr>
              <a:t>Delnor</a:t>
            </a:r>
            <a:r>
              <a:rPr lang="en-US" sz="2000">
                <a:solidFill>
                  <a:schemeClr val="tx2"/>
                </a:solidFill>
                <a:ea typeface="Calibri"/>
                <a:cs typeface="Arial"/>
              </a:rPr>
              <a:t> Hospital</a:t>
            </a:r>
          </a:p>
          <a:p>
            <a:pPr algn="ctr"/>
            <a:r>
              <a:rPr lang="en-US" sz="2000">
                <a:solidFill>
                  <a:schemeClr val="tx2"/>
                </a:solidFill>
                <a:ea typeface="Calibri"/>
                <a:cs typeface="Arial"/>
              </a:rPr>
              <a:t>NM Lake Forest Hospital</a:t>
            </a:r>
          </a:p>
          <a:p>
            <a:pPr algn="ctr"/>
            <a:endParaRPr lang="en-US" sz="2000">
              <a:solidFill>
                <a:schemeClr val="tx2"/>
              </a:solidFill>
              <a:ea typeface="Calibri"/>
              <a:cs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4E4DBB5-83FD-91D9-3E72-7E461736F10D}"/>
              </a:ext>
            </a:extLst>
          </p:cNvPr>
          <p:cNvSpPr txBox="1"/>
          <p:nvPr/>
        </p:nvSpPr>
        <p:spPr>
          <a:xfrm>
            <a:off x="5118123" y="2171557"/>
            <a:ext cx="6180318" cy="40934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sz="2000">
              <a:solidFill>
                <a:schemeClr val="tx2"/>
              </a:solidFill>
              <a:ea typeface="+mn-lt"/>
              <a:cs typeface="+mn-lt"/>
            </a:endParaRPr>
          </a:p>
          <a:p>
            <a:pPr algn="ctr"/>
            <a:r>
              <a:rPr lang="en-US" sz="2000">
                <a:solidFill>
                  <a:schemeClr val="tx2"/>
                </a:solidFill>
                <a:ea typeface="+mn-lt"/>
                <a:cs typeface="+mn-lt"/>
              </a:rPr>
              <a:t>NM Palos Hospital</a:t>
            </a:r>
            <a:endParaRPr lang="en-US">
              <a:solidFill>
                <a:schemeClr val="tx2"/>
              </a:solidFill>
              <a:cs typeface="Calibri"/>
            </a:endParaRPr>
          </a:p>
          <a:p>
            <a:pPr algn="ctr"/>
            <a:r>
              <a:rPr lang="en-US" sz="2000">
                <a:solidFill>
                  <a:schemeClr val="tx2"/>
                </a:solidFill>
                <a:ea typeface="+mn-lt"/>
                <a:cs typeface="+mn-lt"/>
              </a:rPr>
              <a:t>Northwest Community Hospital</a:t>
            </a:r>
          </a:p>
          <a:p>
            <a:pPr algn="ctr"/>
            <a:r>
              <a:rPr lang="en-US" sz="2000">
                <a:solidFill>
                  <a:schemeClr val="tx2"/>
                </a:solidFill>
                <a:ea typeface="+mn-lt"/>
                <a:cs typeface="+mn-lt"/>
              </a:rPr>
              <a:t>OSF St. Francis Medical Center</a:t>
            </a:r>
          </a:p>
          <a:p>
            <a:pPr algn="ctr"/>
            <a:r>
              <a:rPr lang="en-US" sz="2000">
                <a:solidFill>
                  <a:schemeClr val="tx2"/>
                </a:solidFill>
                <a:ea typeface="+mn-lt"/>
                <a:cs typeface="+mn-lt"/>
              </a:rPr>
              <a:t>Roseland Community Hospital</a:t>
            </a:r>
          </a:p>
          <a:p>
            <a:pPr algn="ctr"/>
            <a:r>
              <a:rPr lang="en-US" sz="2000">
                <a:solidFill>
                  <a:schemeClr val="tx2"/>
                </a:solidFill>
                <a:ea typeface="+mn-lt"/>
                <a:cs typeface="+mn-lt"/>
              </a:rPr>
              <a:t>Rush University Medical Center</a:t>
            </a:r>
          </a:p>
          <a:p>
            <a:pPr algn="ctr"/>
            <a:r>
              <a:rPr lang="en-US" sz="2000">
                <a:solidFill>
                  <a:schemeClr val="tx2"/>
                </a:solidFill>
                <a:ea typeface="+mn-lt"/>
                <a:cs typeface="+mn-lt"/>
              </a:rPr>
              <a:t>SSM St. Mary's Hospital</a:t>
            </a:r>
          </a:p>
          <a:p>
            <a:pPr algn="ctr"/>
            <a:r>
              <a:rPr lang="en-US" sz="2000">
                <a:solidFill>
                  <a:schemeClr val="tx2"/>
                </a:solidFill>
                <a:ea typeface="+mn-lt"/>
                <a:cs typeface="+mn-lt"/>
              </a:rPr>
              <a:t>SwedishAmerican Hospital</a:t>
            </a:r>
          </a:p>
          <a:p>
            <a:pPr algn="ctr"/>
            <a:r>
              <a:rPr lang="en-US" sz="2000">
                <a:solidFill>
                  <a:schemeClr val="tx2"/>
                </a:solidFill>
                <a:ea typeface="+mn-lt"/>
                <a:cs typeface="+mn-lt"/>
              </a:rPr>
              <a:t>UI Health</a:t>
            </a:r>
          </a:p>
          <a:p>
            <a:pPr algn="ctr"/>
            <a:r>
              <a:rPr lang="en-US" sz="2000">
                <a:solidFill>
                  <a:schemeClr val="tx2"/>
                </a:solidFill>
                <a:ea typeface="+mn-lt"/>
                <a:cs typeface="+mn-lt"/>
              </a:rPr>
              <a:t>University of Chicago</a:t>
            </a:r>
          </a:p>
          <a:p>
            <a:pPr algn="ctr"/>
            <a:r>
              <a:rPr lang="en-US" sz="2000">
                <a:solidFill>
                  <a:schemeClr val="tx2"/>
                </a:solidFill>
                <a:ea typeface="+mn-lt"/>
                <a:cs typeface="+mn-lt"/>
              </a:rPr>
              <a:t>Vista Medical Center</a:t>
            </a:r>
          </a:p>
          <a:p>
            <a:pPr algn="ctr"/>
            <a:endParaRPr lang="en-US" sz="2000">
              <a:solidFill>
                <a:schemeClr val="tx2"/>
              </a:solidFill>
              <a:ea typeface="Calibri"/>
              <a:cs typeface="Arial"/>
            </a:endParaRPr>
          </a:p>
          <a:p>
            <a:pPr marL="342900" indent="-342900">
              <a:buFont typeface="Wingdings"/>
              <a:buChar char="ü"/>
            </a:pPr>
            <a:endParaRPr lang="en-US" sz="2000">
              <a:solidFill>
                <a:schemeClr val="tx2"/>
              </a:solidFill>
              <a:ea typeface="Calibri"/>
              <a:cs typeface="Arial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ACFCCA6-14C9-76B2-6A9D-6122A4F817EE}"/>
              </a:ext>
            </a:extLst>
          </p:cNvPr>
          <p:cNvSpPr txBox="1"/>
          <p:nvPr/>
        </p:nvSpPr>
        <p:spPr>
          <a:xfrm>
            <a:off x="3709580" y="2061535"/>
            <a:ext cx="4749209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400" b="1">
                <a:solidFill>
                  <a:schemeClr val="tx2"/>
                </a:solidFill>
                <a:ea typeface="+mn-lt"/>
                <a:cs typeface="+mn-lt"/>
              </a:rPr>
              <a:t>Congrats to the following teams! </a:t>
            </a:r>
            <a:r>
              <a:rPr lang="en-US" sz="2400">
                <a:solidFill>
                  <a:schemeClr val="tx2"/>
                </a:solidFill>
                <a:ea typeface="+mn-lt"/>
                <a:cs typeface="+mn-lt"/>
              </a:rPr>
              <a:t> </a:t>
            </a:r>
          </a:p>
          <a:p>
            <a:pPr algn="l"/>
            <a:endParaRPr lang="en-US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640195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054FBB4A-2FF3-56BA-A995-B8B6668E215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73" r="-166"/>
          <a:stretch/>
        </p:blipFill>
        <p:spPr>
          <a:xfrm>
            <a:off x="4199667" y="2807949"/>
            <a:ext cx="3832204" cy="1569653"/>
          </a:xfrm>
          <a:prstGeom prst="rect">
            <a:avLst/>
          </a:prstGeom>
        </p:spPr>
      </p:pic>
      <p:pic>
        <p:nvPicPr>
          <p:cNvPr id="7" name="Picture 6" descr="A group of people sitting in a room&#10;&#10;Description automatically generated">
            <a:extLst>
              <a:ext uri="{FF2B5EF4-FFF2-40B4-BE49-F238E27FC236}">
                <a16:creationId xmlns:a16="http://schemas.microsoft.com/office/drawing/2014/main" id="{514B6EB5-E538-1921-0634-0C72F3E27B3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4979" y="4527992"/>
            <a:ext cx="3835672" cy="2084740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928F64C6-FE22-4FC1-A763-DFCC51481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4261224" y="4577975"/>
            <a:ext cx="7539349" cy="1899827"/>
          </a:xfrm>
          <a:prstGeom prst="rect">
            <a:avLst/>
          </a:prstGeom>
          <a:solidFill>
            <a:srgbClr val="404040"/>
          </a:solidFill>
          <a:ln w="127000" cap="sq" cmpd="thinThick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FE9512-60DD-4A8E-9043-5E88B8876B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38553" y="4741948"/>
            <a:ext cx="3846835" cy="829374"/>
          </a:xfr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200">
                <a:solidFill>
                  <a:srgbClr val="FFFFFF"/>
                </a:solidFill>
                <a:ea typeface="+mj-ea"/>
                <a:cs typeface="Calibri"/>
              </a:rPr>
              <a:t>Respectful Care Breakfasts Across IL</a:t>
            </a:r>
            <a:endParaRPr lang="en-US" sz="3200" kern="1200">
              <a:solidFill>
                <a:srgbClr val="FFFFFF"/>
              </a:solidFill>
              <a:latin typeface="+mj-lt"/>
              <a:ea typeface="+mj-ea"/>
              <a:cs typeface="Calibri"/>
            </a:endParaRPr>
          </a:p>
        </p:txBody>
      </p:sp>
      <p:pic>
        <p:nvPicPr>
          <p:cNvPr id="10" name="Picture 9" descr="A group of people sitting around a table&#10;&#10;Description automatically generated">
            <a:extLst>
              <a:ext uri="{FF2B5EF4-FFF2-40B4-BE49-F238E27FC236}">
                <a16:creationId xmlns:a16="http://schemas.microsoft.com/office/drawing/2014/main" id="{F450D2FF-2A12-C24E-757B-C22927A4F8D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636" y="321734"/>
            <a:ext cx="3797570" cy="2010551"/>
          </a:xfrm>
          <a:prstGeom prst="rect">
            <a:avLst/>
          </a:prstGeom>
        </p:spPr>
      </p:pic>
      <p:pic>
        <p:nvPicPr>
          <p:cNvPr id="11" name="Picture 10" descr="A group of women posing for a photo&#10;&#10;Description automatically generated">
            <a:extLst>
              <a:ext uri="{FF2B5EF4-FFF2-40B4-BE49-F238E27FC236}">
                <a16:creationId xmlns:a16="http://schemas.microsoft.com/office/drawing/2014/main" id="{F72533A0-8306-CE47-40B7-30F3BD26CAA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" b="21734"/>
          <a:stretch/>
        </p:blipFill>
        <p:spPr>
          <a:xfrm>
            <a:off x="317634" y="2422097"/>
            <a:ext cx="3794760" cy="2013804"/>
          </a:xfrm>
          <a:prstGeom prst="rect">
            <a:avLst/>
          </a:prstGeom>
        </p:spPr>
      </p:pic>
      <p:pic>
        <p:nvPicPr>
          <p:cNvPr id="8" name="Picture 7" descr="A person and person sitting at a picnic table with a baby in a stroller&#10;&#10;Description automatically generated">
            <a:extLst>
              <a:ext uri="{FF2B5EF4-FFF2-40B4-BE49-F238E27FC236}">
                <a16:creationId xmlns:a16="http://schemas.microsoft.com/office/drawing/2014/main" id="{A979C5EA-1C80-8E96-1FE8-39F84C02F26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2" r="-663"/>
          <a:stretch/>
        </p:blipFill>
        <p:spPr>
          <a:xfrm>
            <a:off x="4200589" y="171007"/>
            <a:ext cx="3820621" cy="2566788"/>
          </a:xfrm>
          <a:prstGeom prst="rect">
            <a:avLst/>
          </a:prstGeom>
        </p:spPr>
      </p:pic>
      <p:pic>
        <p:nvPicPr>
          <p:cNvPr id="6" name="Content Placeholder 5" descr="A person holding a baby&#10;&#10;Description automatically generated">
            <a:extLst>
              <a:ext uri="{FF2B5EF4-FFF2-40B4-BE49-F238E27FC236}">
                <a16:creationId xmlns:a16="http://schemas.microsoft.com/office/drawing/2014/main" id="{E6557D6C-ECE5-6588-4B8B-FFD83938FF6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02923" y="2155556"/>
            <a:ext cx="3789621" cy="2285087"/>
          </a:xfrm>
          <a:prstGeom prst="rect">
            <a:avLst/>
          </a:prstGeom>
        </p:spPr>
      </p:pic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C34627B-48E6-4F4D-B843-97717A86B4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719934" y="5694097"/>
            <a:ext cx="54864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8A6EEE-06F5-70A7-5878-12985303D5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546665" y="6536267"/>
            <a:ext cx="4892842" cy="30692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A4ED70-0183-5724-8F1A-CD092A1FAF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57372" y="6536267"/>
            <a:ext cx="2743200" cy="30692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pPr>
                <a:spcAft>
                  <a:spcPts val="600"/>
                </a:spcAft>
              </a:pPr>
              <a:t>8</a:t>
            </a:fld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479F5EF-B34D-3E48-9038-CCD71B0FCF2B}"/>
              </a:ext>
            </a:extLst>
          </p:cNvPr>
          <p:cNvSpPr txBox="1"/>
          <p:nvPr/>
        </p:nvSpPr>
        <p:spPr>
          <a:xfrm>
            <a:off x="705152" y="2465142"/>
            <a:ext cx="3029050" cy="3385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>
                <a:ea typeface="Calibri"/>
                <a:cs typeface="Calibri"/>
              </a:rPr>
              <a:t>Memorial Hospital of Carbondal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2BCFBA6-13B9-12BE-9DF9-4CF5057733EF}"/>
              </a:ext>
            </a:extLst>
          </p:cNvPr>
          <p:cNvSpPr txBox="1"/>
          <p:nvPr/>
        </p:nvSpPr>
        <p:spPr>
          <a:xfrm>
            <a:off x="735929" y="411104"/>
            <a:ext cx="2977175" cy="3385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>
                <a:ea typeface="Calibri"/>
                <a:cs typeface="Calibri"/>
              </a:rPr>
              <a:t>Roseland Community Hospital</a:t>
            </a:r>
            <a:endParaRPr lang="en-US" sz="1600">
              <a:cs typeface="Calibri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AEB9339-93C5-1701-70EE-EDC7CD3E87BE}"/>
              </a:ext>
            </a:extLst>
          </p:cNvPr>
          <p:cNvSpPr txBox="1"/>
          <p:nvPr/>
        </p:nvSpPr>
        <p:spPr>
          <a:xfrm>
            <a:off x="364741" y="6124598"/>
            <a:ext cx="2822896" cy="3385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>
                <a:cs typeface="Calibri"/>
              </a:rPr>
              <a:t>Barnes-Jewish/SSM St. Mary's</a:t>
            </a:r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1D7A83F-D968-B993-D57C-204C5D85E4E4}"/>
              </a:ext>
            </a:extLst>
          </p:cNvPr>
          <p:cNvSpPr txBox="1"/>
          <p:nvPr/>
        </p:nvSpPr>
        <p:spPr>
          <a:xfrm>
            <a:off x="4257243" y="236082"/>
            <a:ext cx="2325666" cy="3385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>
                <a:cs typeface="Calibri"/>
              </a:rPr>
              <a:t>Carle Foundation Hospital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D9D9CB1-DDCD-F417-6EE0-9EB057EC8EB6}"/>
              </a:ext>
            </a:extLst>
          </p:cNvPr>
          <p:cNvSpPr txBox="1"/>
          <p:nvPr/>
        </p:nvSpPr>
        <p:spPr>
          <a:xfrm>
            <a:off x="6058350" y="2883482"/>
            <a:ext cx="1888604" cy="3385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>
                <a:ea typeface="Calibri"/>
                <a:cs typeface="Calibri"/>
              </a:rPr>
              <a:t>MacNeal Hospital</a:t>
            </a:r>
          </a:p>
        </p:txBody>
      </p:sp>
      <p:pic>
        <p:nvPicPr>
          <p:cNvPr id="12" name="Picture 11" descr="A group of people sitting in chairs in front of a projection screen&#10;&#10;Description automatically generated">
            <a:extLst>
              <a:ext uri="{FF2B5EF4-FFF2-40B4-BE49-F238E27FC236}">
                <a16:creationId xmlns:a16="http://schemas.microsoft.com/office/drawing/2014/main" id="{52EF9B08-D94F-4C43-D3DF-88D079DAB53A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45"/>
          <a:stretch/>
        </p:blipFill>
        <p:spPr>
          <a:xfrm>
            <a:off x="8109563" y="170186"/>
            <a:ext cx="3783042" cy="189230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F4B0793-36F2-0D68-57DF-2BD3A6A14582}"/>
              </a:ext>
            </a:extLst>
          </p:cNvPr>
          <p:cNvSpPr txBox="1"/>
          <p:nvPr/>
        </p:nvSpPr>
        <p:spPr>
          <a:xfrm>
            <a:off x="8251462" y="2254125"/>
            <a:ext cx="1605535" cy="5981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>
                <a:cs typeface="Calibri"/>
              </a:rPr>
              <a:t>Carle Foundation Hospital</a:t>
            </a:r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7DD168A-EFA8-3F10-C016-A0703E750A1F}"/>
              </a:ext>
            </a:extLst>
          </p:cNvPr>
          <p:cNvSpPr txBox="1"/>
          <p:nvPr/>
        </p:nvSpPr>
        <p:spPr>
          <a:xfrm>
            <a:off x="8953173" y="321492"/>
            <a:ext cx="2074457" cy="3385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>
                <a:cs typeface="Calibri"/>
              </a:rPr>
              <a:t>UI Health</a:t>
            </a:r>
            <a:endParaRPr lang="en-US"/>
          </a:p>
        </p:txBody>
      </p:sp>
      <p:pic>
        <p:nvPicPr>
          <p:cNvPr id="3" name="Picture 2" descr="A group of people standing in front of a projector screen&#10;&#10;Description automatically generated">
            <a:extLst>
              <a:ext uri="{FF2B5EF4-FFF2-40B4-BE49-F238E27FC236}">
                <a16:creationId xmlns:a16="http://schemas.microsoft.com/office/drawing/2014/main" id="{6D348CD1-994D-90D5-3DD0-D478F08787F8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043"/>
          <a:stretch/>
        </p:blipFill>
        <p:spPr>
          <a:xfrm>
            <a:off x="4194071" y="4470364"/>
            <a:ext cx="3352107" cy="213813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F562975-8F8C-1423-0B61-1FD877101592}"/>
              </a:ext>
            </a:extLst>
          </p:cNvPr>
          <p:cNvSpPr txBox="1"/>
          <p:nvPr/>
        </p:nvSpPr>
        <p:spPr>
          <a:xfrm>
            <a:off x="6145435" y="4581654"/>
            <a:ext cx="1322547" cy="5847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>
                <a:cs typeface="Calibri"/>
              </a:rPr>
              <a:t>Vista Medical Cent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9339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36A363-5758-048B-0681-8F5EF15634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Expanding Patient Engagement in 2024</a:t>
            </a:r>
            <a:endParaRPr lang="en-US" err="1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9064AC5-6379-2EF2-80E7-33DAE15131C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66940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Application>Microsoft Office PowerPoint</Application>
  <PresentationFormat>Widescreen</PresentationFormat>
  <Slides>11</Slides>
  <Notes>4</Notes>
  <HiddenSlides>0</HiddenSlide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11</vt:i4>
      </vt:variant>
    </vt:vector>
  </HeadingPairs>
  <TitlesOfParts>
    <vt:vector size="14" baseType="lpstr">
      <vt:lpstr>1_Office Theme</vt:lpstr>
      <vt:lpstr>3_Office Theme</vt:lpstr>
      <vt:lpstr>Office Theme</vt:lpstr>
      <vt:lpstr>Momma’s Voices:  Taking Steps to Engage Patient Partners in QI</vt:lpstr>
      <vt:lpstr>PowerPoint Presentation</vt:lpstr>
      <vt:lpstr>Celebrating our Patient Partners</vt:lpstr>
      <vt:lpstr>Who is a Patient Partner?</vt:lpstr>
      <vt:lpstr>Celebrating the Power of Patient Partnerships and Progress Made!</vt:lpstr>
      <vt:lpstr>PowerPoint Presentation</vt:lpstr>
      <vt:lpstr>PowerPoint Presentation</vt:lpstr>
      <vt:lpstr>Respectful Care Breakfasts Across IL</vt:lpstr>
      <vt:lpstr>Expanding Patient Engagement in 2024</vt:lpstr>
      <vt:lpstr>Our ILPQC goal for Patient Engagement in 2024</vt:lpstr>
      <vt:lpstr>Momma's Voices Patient Family Partner Train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vera, Alana</dc:creator>
  <cp:revision>3</cp:revision>
  <dcterms:created xsi:type="dcterms:W3CDTF">2023-10-04T17:47:11Z</dcterms:created>
  <dcterms:modified xsi:type="dcterms:W3CDTF">2023-11-10T15:59:14Z</dcterms:modified>
</cp:coreProperties>
</file>